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handoutMasterIdLst>
    <p:handoutMasterId r:id="rId6"/>
  </p:handoutMasterIdLst>
  <p:sldIdLst>
    <p:sldId id="2147473136" r:id="rId2"/>
    <p:sldId id="2147471489" r:id="rId3"/>
    <p:sldId id="2147471490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60" userDrawn="1">
          <p15:clr>
            <a:srgbClr val="A4A3A4"/>
          </p15:clr>
        </p15:guide>
        <p15:guide id="4" pos="7392" userDrawn="1">
          <p15:clr>
            <a:srgbClr val="A4A3A4"/>
          </p15:clr>
        </p15:guide>
        <p15:guide id="5" orient="horz" pos="8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FA884"/>
    <a:srgbClr val="30BD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E92494-C4F9-4F9E-8F6F-A2344A2C910C}" v="30" dt="2025-12-16T17:27:47.51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6" d="100"/>
          <a:sy n="66" d="100"/>
        </p:scale>
        <p:origin x="600" y="44"/>
      </p:cViewPr>
      <p:guideLst>
        <p:guide orient="horz" pos="3816"/>
        <p:guide pos="3840"/>
        <p:guide pos="360"/>
        <p:guide pos="7392"/>
        <p:guide orient="horz" pos="81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0" d="100"/>
          <a:sy n="50" d="100"/>
        </p:scale>
        <p:origin x="2640" y="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microsoft.com/office/2016/11/relationships/changesInfo" Target="changesInfos/changesInfo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run Channa - Synergy Consulting" userId="3e729d5e-301a-430c-9ffe-1118f947c2aa" providerId="ADAL" clId="{E0E92494-C4F9-4F9E-8F6F-A2344A2C910C}"/>
    <pc:docChg chg="undo custSel modSld modMainMaster modHandout">
      <pc:chgData name="Varun Channa - Synergy Consulting" userId="3e729d5e-301a-430c-9ffe-1118f947c2aa" providerId="ADAL" clId="{E0E92494-C4F9-4F9E-8F6F-A2344A2C910C}" dt="2025-12-16T17:27:47.514" v="117"/>
      <pc:docMkLst>
        <pc:docMk/>
      </pc:docMkLst>
      <pc:sldChg chg="addSp modSp mod">
        <pc:chgData name="Varun Channa - Synergy Consulting" userId="3e729d5e-301a-430c-9ffe-1118f947c2aa" providerId="ADAL" clId="{E0E92494-C4F9-4F9E-8F6F-A2344A2C910C}" dt="2025-12-16T17:23:56.433" v="44"/>
        <pc:sldMkLst>
          <pc:docMk/>
          <pc:sldMk cId="1630410840" sldId="2147471489"/>
        </pc:sldMkLst>
        <pc:spChg chg="mod">
          <ac:chgData name="Varun Channa - Synergy Consulting" userId="3e729d5e-301a-430c-9ffe-1118f947c2aa" providerId="ADAL" clId="{E0E92494-C4F9-4F9E-8F6F-A2344A2C910C}" dt="2025-12-16T17:21:28.009" v="23"/>
          <ac:spMkLst>
            <pc:docMk/>
            <pc:sldMk cId="1630410840" sldId="2147471489"/>
            <ac:spMk id="14" creationId="{742B77ED-BA19-A6E4-CE3B-DE78EBF32004}"/>
          </ac:spMkLst>
        </pc:spChg>
        <pc:spChg chg="add">
          <ac:chgData name="Varun Channa - Synergy Consulting" userId="3e729d5e-301a-430c-9ffe-1118f947c2aa" providerId="ADAL" clId="{E0E92494-C4F9-4F9E-8F6F-A2344A2C910C}" dt="2025-12-16T17:23:11.835" v="32"/>
          <ac:spMkLst>
            <pc:docMk/>
            <pc:sldMk cId="1630410840" sldId="2147471489"/>
            <ac:spMk id="15" creationId="{1E76EECA-9E51-4507-C99C-91724D6CA2BA}"/>
          </ac:spMkLst>
        </pc:spChg>
        <pc:picChg chg="add mod">
          <ac:chgData name="Varun Channa - Synergy Consulting" userId="3e729d5e-301a-430c-9ffe-1118f947c2aa" providerId="ADAL" clId="{E0E92494-C4F9-4F9E-8F6F-A2344A2C910C}" dt="2025-12-16T17:23:16.201" v="33"/>
          <ac:picMkLst>
            <pc:docMk/>
            <pc:sldMk cId="1630410840" sldId="2147471489"/>
            <ac:picMk id="16" creationId="{1752EBEC-F1F2-58E4-B34D-DC0752C160FF}"/>
          </ac:picMkLst>
        </pc:picChg>
        <pc:picChg chg="add mod">
          <ac:chgData name="Varun Channa - Synergy Consulting" userId="3e729d5e-301a-430c-9ffe-1118f947c2aa" providerId="ADAL" clId="{E0E92494-C4F9-4F9E-8F6F-A2344A2C910C}" dt="2025-12-16T17:23:56.433" v="44"/>
          <ac:picMkLst>
            <pc:docMk/>
            <pc:sldMk cId="1630410840" sldId="2147471489"/>
            <ac:picMk id="17" creationId="{0F29045E-AC65-EBDA-5946-4B607105201C}"/>
          </ac:picMkLst>
        </pc:picChg>
      </pc:sldChg>
      <pc:sldChg chg="addSp modSp mod">
        <pc:chgData name="Varun Channa - Synergy Consulting" userId="3e729d5e-301a-430c-9ffe-1118f947c2aa" providerId="ADAL" clId="{E0E92494-C4F9-4F9E-8F6F-A2344A2C910C}" dt="2025-12-16T17:23:50.419" v="43" actId="14100"/>
        <pc:sldMkLst>
          <pc:docMk/>
          <pc:sldMk cId="2668077412" sldId="2147471490"/>
        </pc:sldMkLst>
        <pc:spChg chg="mod">
          <ac:chgData name="Varun Channa - Synergy Consulting" userId="3e729d5e-301a-430c-9ffe-1118f947c2aa" providerId="ADAL" clId="{E0E92494-C4F9-4F9E-8F6F-A2344A2C910C}" dt="2025-12-16T17:21:33.042" v="24"/>
          <ac:spMkLst>
            <pc:docMk/>
            <pc:sldMk cId="2668077412" sldId="2147471490"/>
            <ac:spMk id="17" creationId="{AC41116B-62D2-2C35-A49A-05FFA22F5A6D}"/>
          </ac:spMkLst>
        </pc:spChg>
        <pc:picChg chg="add mod">
          <ac:chgData name="Varun Channa - Synergy Consulting" userId="3e729d5e-301a-430c-9ffe-1118f947c2aa" providerId="ADAL" clId="{E0E92494-C4F9-4F9E-8F6F-A2344A2C910C}" dt="2025-12-16T17:23:18.387" v="34"/>
          <ac:picMkLst>
            <pc:docMk/>
            <pc:sldMk cId="2668077412" sldId="2147471490"/>
            <ac:picMk id="18" creationId="{5E0D2030-F96D-51F1-8CF0-7F8FE8F1D721}"/>
          </ac:picMkLst>
        </pc:picChg>
        <pc:picChg chg="add mod">
          <ac:chgData name="Varun Channa - Synergy Consulting" userId="3e729d5e-301a-430c-9ffe-1118f947c2aa" providerId="ADAL" clId="{E0E92494-C4F9-4F9E-8F6F-A2344A2C910C}" dt="2025-12-16T17:23:50.419" v="43" actId="14100"/>
          <ac:picMkLst>
            <pc:docMk/>
            <pc:sldMk cId="2668077412" sldId="2147471490"/>
            <ac:picMk id="19" creationId="{8BF6DDF0-B85A-7531-D628-A4C3C42467C2}"/>
          </ac:picMkLst>
        </pc:picChg>
      </pc:sldChg>
      <pc:sldChg chg="addSp delSp modSp mod">
        <pc:chgData name="Varun Channa - Synergy Consulting" userId="3e729d5e-301a-430c-9ffe-1118f947c2aa" providerId="ADAL" clId="{E0E92494-C4F9-4F9E-8F6F-A2344A2C910C}" dt="2025-12-16T17:27:47.514" v="117"/>
        <pc:sldMkLst>
          <pc:docMk/>
          <pc:sldMk cId="1798754326" sldId="2147473136"/>
        </pc:sldMkLst>
        <pc:spChg chg="add">
          <ac:chgData name="Varun Channa - Synergy Consulting" userId="3e729d5e-301a-430c-9ffe-1118f947c2aa" providerId="ADAL" clId="{E0E92494-C4F9-4F9E-8F6F-A2344A2C910C}" dt="2025-12-16T17:22:51.816" v="26"/>
          <ac:spMkLst>
            <pc:docMk/>
            <pc:sldMk cId="1798754326" sldId="2147473136"/>
            <ac:spMk id="2" creationId="{3325E753-63A3-A928-525E-E43F252DCF67}"/>
          </ac:spMkLst>
        </pc:spChg>
        <pc:spChg chg="mod">
          <ac:chgData name="Varun Channa - Synergy Consulting" userId="3e729d5e-301a-430c-9ffe-1118f947c2aa" providerId="ADAL" clId="{E0E92494-C4F9-4F9E-8F6F-A2344A2C910C}" dt="2025-12-16T17:27:06.180" v="82" actId="1035"/>
          <ac:spMkLst>
            <pc:docMk/>
            <pc:sldMk cId="1798754326" sldId="2147473136"/>
            <ac:spMk id="3" creationId="{B0DCFB56-F537-183C-0D12-DE937020175D}"/>
          </ac:spMkLst>
        </pc:spChg>
        <pc:spChg chg="add">
          <ac:chgData name="Varun Channa - Synergy Consulting" userId="3e729d5e-301a-430c-9ffe-1118f947c2aa" providerId="ADAL" clId="{E0E92494-C4F9-4F9E-8F6F-A2344A2C910C}" dt="2025-12-16T17:22:54.053" v="27"/>
          <ac:spMkLst>
            <pc:docMk/>
            <pc:sldMk cId="1798754326" sldId="2147473136"/>
            <ac:spMk id="13" creationId="{3C294240-4DB0-4112-14B6-F14ACF691555}"/>
          </ac:spMkLst>
        </pc:spChg>
        <pc:spChg chg="mod">
          <ac:chgData name="Varun Channa - Synergy Consulting" userId="3e729d5e-301a-430c-9ffe-1118f947c2aa" providerId="ADAL" clId="{E0E92494-C4F9-4F9E-8F6F-A2344A2C910C}" dt="2025-12-16T17:21:22.364" v="22"/>
          <ac:spMkLst>
            <pc:docMk/>
            <pc:sldMk cId="1798754326" sldId="2147473136"/>
            <ac:spMk id="14" creationId="{732EDF08-6583-95B5-7124-5C3E91D7C239}"/>
          </ac:spMkLst>
        </pc:spChg>
        <pc:spChg chg="mod">
          <ac:chgData name="Varun Channa - Synergy Consulting" userId="3e729d5e-301a-430c-9ffe-1118f947c2aa" providerId="ADAL" clId="{E0E92494-C4F9-4F9E-8F6F-A2344A2C910C}" dt="2025-12-16T17:27:41.793" v="116" actId="1076"/>
          <ac:spMkLst>
            <pc:docMk/>
            <pc:sldMk cId="1798754326" sldId="2147473136"/>
            <ac:spMk id="63" creationId="{0BF33277-3327-7C5C-17AC-BA4F816298AE}"/>
          </ac:spMkLst>
        </pc:spChg>
        <pc:spChg chg="mod">
          <ac:chgData name="Varun Channa - Synergy Consulting" userId="3e729d5e-301a-430c-9ffe-1118f947c2aa" providerId="ADAL" clId="{E0E92494-C4F9-4F9E-8F6F-A2344A2C910C}" dt="2025-12-16T17:27:41.793" v="116" actId="1076"/>
          <ac:spMkLst>
            <pc:docMk/>
            <pc:sldMk cId="1798754326" sldId="2147473136"/>
            <ac:spMk id="64" creationId="{8C8711EF-2410-1A6D-8520-B33FA9A65B38}"/>
          </ac:spMkLst>
        </pc:spChg>
        <pc:spChg chg="mod">
          <ac:chgData name="Varun Channa - Synergy Consulting" userId="3e729d5e-301a-430c-9ffe-1118f947c2aa" providerId="ADAL" clId="{E0E92494-C4F9-4F9E-8F6F-A2344A2C910C}" dt="2025-12-16T17:27:06.180" v="82" actId="1035"/>
          <ac:spMkLst>
            <pc:docMk/>
            <pc:sldMk cId="1798754326" sldId="2147473136"/>
            <ac:spMk id="66" creationId="{A38B44F5-0E1F-0EE2-C3AE-B9DDC69A43CE}"/>
          </ac:spMkLst>
        </pc:spChg>
        <pc:spChg chg="mod">
          <ac:chgData name="Varun Channa - Synergy Consulting" userId="3e729d5e-301a-430c-9ffe-1118f947c2aa" providerId="ADAL" clId="{E0E92494-C4F9-4F9E-8F6F-A2344A2C910C}" dt="2025-12-16T17:27:06.180" v="82" actId="1035"/>
          <ac:spMkLst>
            <pc:docMk/>
            <pc:sldMk cId="1798754326" sldId="2147473136"/>
            <ac:spMk id="67" creationId="{CF2FFB35-8967-E843-52A8-44AF991BCBB3}"/>
          </ac:spMkLst>
        </pc:spChg>
        <pc:spChg chg="mod">
          <ac:chgData name="Varun Channa - Synergy Consulting" userId="3e729d5e-301a-430c-9ffe-1118f947c2aa" providerId="ADAL" clId="{E0E92494-C4F9-4F9E-8F6F-A2344A2C910C}" dt="2025-12-16T17:27:06.180" v="82" actId="1035"/>
          <ac:spMkLst>
            <pc:docMk/>
            <pc:sldMk cId="1798754326" sldId="2147473136"/>
            <ac:spMk id="68" creationId="{B9F0F9AD-ABB1-8560-AE5E-E2F00C65286C}"/>
          </ac:spMkLst>
        </pc:spChg>
        <pc:spChg chg="mod">
          <ac:chgData name="Varun Channa - Synergy Consulting" userId="3e729d5e-301a-430c-9ffe-1118f947c2aa" providerId="ADAL" clId="{E0E92494-C4F9-4F9E-8F6F-A2344A2C910C}" dt="2025-12-16T17:27:06.180" v="82" actId="1035"/>
          <ac:spMkLst>
            <pc:docMk/>
            <pc:sldMk cId="1798754326" sldId="2147473136"/>
            <ac:spMk id="69" creationId="{D2A15867-B814-EA86-3D25-527E55F71036}"/>
          </ac:spMkLst>
        </pc:spChg>
        <pc:spChg chg="mod">
          <ac:chgData name="Varun Channa - Synergy Consulting" userId="3e729d5e-301a-430c-9ffe-1118f947c2aa" providerId="ADAL" clId="{E0E92494-C4F9-4F9E-8F6F-A2344A2C910C}" dt="2025-12-16T17:27:26.774" v="112" actId="1036"/>
          <ac:spMkLst>
            <pc:docMk/>
            <pc:sldMk cId="1798754326" sldId="2147473136"/>
            <ac:spMk id="70" creationId="{4B08D8A3-1280-7082-6210-1BA9B5E23EC2}"/>
          </ac:spMkLst>
        </pc:spChg>
        <pc:spChg chg="mod">
          <ac:chgData name="Varun Channa - Synergy Consulting" userId="3e729d5e-301a-430c-9ffe-1118f947c2aa" providerId="ADAL" clId="{E0E92494-C4F9-4F9E-8F6F-A2344A2C910C}" dt="2025-12-16T17:27:06.180" v="82" actId="1035"/>
          <ac:spMkLst>
            <pc:docMk/>
            <pc:sldMk cId="1798754326" sldId="2147473136"/>
            <ac:spMk id="71" creationId="{766B79D5-3226-F599-F818-4F46A86AEC78}"/>
          </ac:spMkLst>
        </pc:spChg>
        <pc:spChg chg="mod">
          <ac:chgData name="Varun Channa - Synergy Consulting" userId="3e729d5e-301a-430c-9ffe-1118f947c2aa" providerId="ADAL" clId="{E0E92494-C4F9-4F9E-8F6F-A2344A2C910C}" dt="2025-12-16T17:27:06.180" v="82" actId="1035"/>
          <ac:spMkLst>
            <pc:docMk/>
            <pc:sldMk cId="1798754326" sldId="2147473136"/>
            <ac:spMk id="73" creationId="{9B0BB753-3AE3-E2F4-319B-0E362041B948}"/>
          </ac:spMkLst>
        </pc:spChg>
        <pc:spChg chg="mod">
          <ac:chgData name="Varun Channa - Synergy Consulting" userId="3e729d5e-301a-430c-9ffe-1118f947c2aa" providerId="ADAL" clId="{E0E92494-C4F9-4F9E-8F6F-A2344A2C910C}" dt="2025-12-16T17:27:06.180" v="82" actId="1035"/>
          <ac:spMkLst>
            <pc:docMk/>
            <pc:sldMk cId="1798754326" sldId="2147473136"/>
            <ac:spMk id="74" creationId="{2A29C907-0F1F-C643-7A7A-3F2842C8A48E}"/>
          </ac:spMkLst>
        </pc:spChg>
        <pc:spChg chg="mod">
          <ac:chgData name="Varun Channa - Synergy Consulting" userId="3e729d5e-301a-430c-9ffe-1118f947c2aa" providerId="ADAL" clId="{E0E92494-C4F9-4F9E-8F6F-A2344A2C910C}" dt="2025-12-16T17:27:06.180" v="82" actId="1035"/>
          <ac:spMkLst>
            <pc:docMk/>
            <pc:sldMk cId="1798754326" sldId="2147473136"/>
            <ac:spMk id="75" creationId="{B563E1E3-D005-245D-A18F-D783B9C783D8}"/>
          </ac:spMkLst>
        </pc:spChg>
        <pc:grpChg chg="del mod">
          <ac:chgData name="Varun Channa - Synergy Consulting" userId="3e729d5e-301a-430c-9ffe-1118f947c2aa" providerId="ADAL" clId="{E0E92494-C4F9-4F9E-8F6F-A2344A2C910C}" dt="2025-12-16T17:22:45.918" v="25" actId="478"/>
          <ac:grpSpMkLst>
            <pc:docMk/>
            <pc:sldMk cId="1798754326" sldId="2147473136"/>
            <ac:grpSpMk id="4" creationId="{26F3E21E-64A7-8E01-3578-6304106A9167}"/>
          </ac:grpSpMkLst>
        </pc:grpChg>
        <pc:grpChg chg="mod">
          <ac:chgData name="Varun Channa - Synergy Consulting" userId="3e729d5e-301a-430c-9ffe-1118f947c2aa" providerId="ADAL" clId="{E0E92494-C4F9-4F9E-8F6F-A2344A2C910C}" dt="2025-12-16T17:27:31.748" v="113" actId="14100"/>
          <ac:grpSpMkLst>
            <pc:docMk/>
            <pc:sldMk cId="1798754326" sldId="2147473136"/>
            <ac:grpSpMk id="17" creationId="{BE6F5BFD-9E65-3BD4-B4BD-10FDDA0D65C7}"/>
          </ac:grpSpMkLst>
        </pc:grpChg>
        <pc:picChg chg="add mod">
          <ac:chgData name="Varun Channa - Synergy Consulting" userId="3e729d5e-301a-430c-9ffe-1118f947c2aa" providerId="ADAL" clId="{E0E92494-C4F9-4F9E-8F6F-A2344A2C910C}" dt="2025-12-16T17:23:06.457" v="31" actId="1076"/>
          <ac:picMkLst>
            <pc:docMk/>
            <pc:sldMk cId="1798754326" sldId="2147473136"/>
            <ac:picMk id="15" creationId="{8CE955A1-9E44-C982-42B1-F63AE6948FAE}"/>
          </ac:picMkLst>
        </pc:picChg>
        <pc:picChg chg="add mod">
          <ac:chgData name="Varun Channa - Synergy Consulting" userId="3e729d5e-301a-430c-9ffe-1118f947c2aa" providerId="ADAL" clId="{E0E92494-C4F9-4F9E-8F6F-A2344A2C910C}" dt="2025-12-16T17:23:57.953" v="45"/>
          <ac:picMkLst>
            <pc:docMk/>
            <pc:sldMk cId="1798754326" sldId="2147473136"/>
            <ac:picMk id="16" creationId="{1D8328A6-61E1-1913-8C1F-F3DB62B6B93C}"/>
          </ac:picMkLst>
        </pc:picChg>
        <pc:picChg chg="add mod">
          <ac:chgData name="Varun Channa - Synergy Consulting" userId="3e729d5e-301a-430c-9ffe-1118f947c2aa" providerId="ADAL" clId="{E0E92494-C4F9-4F9E-8F6F-A2344A2C910C}" dt="2025-12-16T17:27:47.514" v="117"/>
          <ac:picMkLst>
            <pc:docMk/>
            <pc:sldMk cId="1798754326" sldId="2147473136"/>
            <ac:picMk id="18" creationId="{610C9B07-DD5C-932E-C501-9E5864D9EE37}"/>
          </ac:picMkLst>
        </pc:picChg>
      </pc:sldChg>
      <pc:sldMasterChg chg="addSp delSp modSp mod modSldLayout">
        <pc:chgData name="Varun Channa - Synergy Consulting" userId="3e729d5e-301a-430c-9ffe-1118f947c2aa" providerId="ADAL" clId="{E0E92494-C4F9-4F9E-8F6F-A2344A2C910C}" dt="2025-12-16T17:26:07.891" v="71" actId="1076"/>
        <pc:sldMasterMkLst>
          <pc:docMk/>
          <pc:sldMasterMk cId="3769787521" sldId="2147483660"/>
        </pc:sldMasterMkLst>
        <pc:grpChg chg="add del">
          <ac:chgData name="Varun Channa - Synergy Consulting" userId="3e729d5e-301a-430c-9ffe-1118f947c2aa" providerId="ADAL" clId="{E0E92494-C4F9-4F9E-8F6F-A2344A2C910C}" dt="2025-12-16T17:24:23.392" v="49" actId="478"/>
          <ac:grpSpMkLst>
            <pc:docMk/>
            <pc:sldMasterMk cId="3769787521" sldId="2147483660"/>
            <ac:grpSpMk id="2" creationId="{6666C36E-9040-AE91-38C8-60EE4EF745AE}"/>
          </ac:grpSpMkLst>
        </pc:grpChg>
        <pc:picChg chg="add mod">
          <ac:chgData name="Varun Channa - Synergy Consulting" userId="3e729d5e-301a-430c-9ffe-1118f947c2aa" providerId="ADAL" clId="{E0E92494-C4F9-4F9E-8F6F-A2344A2C910C}" dt="2025-12-16T17:24:21.073" v="48"/>
          <ac:picMkLst>
            <pc:docMk/>
            <pc:sldMasterMk cId="3769787521" sldId="2147483660"/>
            <ac:picMk id="3" creationId="{FE0ACBE6-73EF-7738-C13E-B0332BCB307B}"/>
          </ac:picMkLst>
        </pc:picChg>
        <pc:picChg chg="add mod">
          <ac:chgData name="Varun Channa - Synergy Consulting" userId="3e729d5e-301a-430c-9ffe-1118f947c2aa" providerId="ADAL" clId="{E0E92494-C4F9-4F9E-8F6F-A2344A2C910C}" dt="2025-12-16T17:24:39.601" v="54" actId="1076"/>
          <ac:picMkLst>
            <pc:docMk/>
            <pc:sldMasterMk cId="3769787521" sldId="2147483660"/>
            <ac:picMk id="11" creationId="{213A033F-E504-19B1-61F0-0D1C7E84AA9C}"/>
          </ac:picMkLst>
        </pc:picChg>
        <pc:sldLayoutChg chg="addSp modSp">
          <pc:chgData name="Varun Channa - Synergy Consulting" userId="3e729d5e-301a-430c-9ffe-1118f947c2aa" providerId="ADAL" clId="{E0E92494-C4F9-4F9E-8F6F-A2344A2C910C}" dt="2025-12-16T17:24:43.631" v="55"/>
          <pc:sldLayoutMkLst>
            <pc:docMk/>
            <pc:sldMasterMk cId="3769787521" sldId="2147483660"/>
            <pc:sldLayoutMk cId="1313576269" sldId="2147483661"/>
          </pc:sldLayoutMkLst>
          <pc:picChg chg="add mod">
            <ac:chgData name="Varun Channa - Synergy Consulting" userId="3e729d5e-301a-430c-9ffe-1118f947c2aa" providerId="ADAL" clId="{E0E92494-C4F9-4F9E-8F6F-A2344A2C910C}" dt="2025-12-16T17:24:43.631" v="55"/>
            <ac:picMkLst>
              <pc:docMk/>
              <pc:sldMasterMk cId="3769787521" sldId="2147483660"/>
              <pc:sldLayoutMk cId="1313576269" sldId="2147483661"/>
              <ac:picMk id="6" creationId="{1415B794-A480-D48D-5DAB-B24D6059B7AC}"/>
            </ac:picMkLst>
          </pc:picChg>
        </pc:sldLayoutChg>
        <pc:sldLayoutChg chg="addSp modSp">
          <pc:chgData name="Varun Channa - Synergy Consulting" userId="3e729d5e-301a-430c-9ffe-1118f947c2aa" providerId="ADAL" clId="{E0E92494-C4F9-4F9E-8F6F-A2344A2C910C}" dt="2025-12-16T17:24:44.889" v="56"/>
          <pc:sldLayoutMkLst>
            <pc:docMk/>
            <pc:sldMasterMk cId="3769787521" sldId="2147483660"/>
            <pc:sldLayoutMk cId="2746514070" sldId="2147483662"/>
          </pc:sldLayoutMkLst>
          <pc:picChg chg="add mod">
            <ac:chgData name="Varun Channa - Synergy Consulting" userId="3e729d5e-301a-430c-9ffe-1118f947c2aa" providerId="ADAL" clId="{E0E92494-C4F9-4F9E-8F6F-A2344A2C910C}" dt="2025-12-16T17:24:44.889" v="56"/>
            <ac:picMkLst>
              <pc:docMk/>
              <pc:sldMasterMk cId="3769787521" sldId="2147483660"/>
              <pc:sldLayoutMk cId="2746514070" sldId="2147483662"/>
              <ac:picMk id="2" creationId="{75F55C09-193E-B19D-AB94-3D745416319D}"/>
            </ac:picMkLst>
          </pc:picChg>
        </pc:sldLayoutChg>
        <pc:sldLayoutChg chg="addSp modSp">
          <pc:chgData name="Varun Channa - Synergy Consulting" userId="3e729d5e-301a-430c-9ffe-1118f947c2aa" providerId="ADAL" clId="{E0E92494-C4F9-4F9E-8F6F-A2344A2C910C}" dt="2025-12-16T17:24:46.183" v="57"/>
          <pc:sldLayoutMkLst>
            <pc:docMk/>
            <pc:sldMasterMk cId="3769787521" sldId="2147483660"/>
            <pc:sldLayoutMk cId="636484485" sldId="2147483663"/>
          </pc:sldLayoutMkLst>
          <pc:picChg chg="add mod">
            <ac:chgData name="Varun Channa - Synergy Consulting" userId="3e729d5e-301a-430c-9ffe-1118f947c2aa" providerId="ADAL" clId="{E0E92494-C4F9-4F9E-8F6F-A2344A2C910C}" dt="2025-12-16T17:24:46.183" v="57"/>
            <ac:picMkLst>
              <pc:docMk/>
              <pc:sldMasterMk cId="3769787521" sldId="2147483660"/>
              <pc:sldLayoutMk cId="636484485" sldId="2147483663"/>
              <ac:picMk id="2" creationId="{6F359D06-0012-D71C-0981-387D4C3C467C}"/>
            </ac:picMkLst>
          </pc:picChg>
        </pc:sldLayoutChg>
        <pc:sldLayoutChg chg="addSp modSp">
          <pc:chgData name="Varun Channa - Synergy Consulting" userId="3e729d5e-301a-430c-9ffe-1118f947c2aa" providerId="ADAL" clId="{E0E92494-C4F9-4F9E-8F6F-A2344A2C910C}" dt="2025-12-16T17:24:47.249" v="58"/>
          <pc:sldLayoutMkLst>
            <pc:docMk/>
            <pc:sldMasterMk cId="3769787521" sldId="2147483660"/>
            <pc:sldLayoutMk cId="1012121389" sldId="2147483664"/>
          </pc:sldLayoutMkLst>
          <pc:picChg chg="add mod">
            <ac:chgData name="Varun Channa - Synergy Consulting" userId="3e729d5e-301a-430c-9ffe-1118f947c2aa" providerId="ADAL" clId="{E0E92494-C4F9-4F9E-8F6F-A2344A2C910C}" dt="2025-12-16T17:24:47.249" v="58"/>
            <ac:picMkLst>
              <pc:docMk/>
              <pc:sldMasterMk cId="3769787521" sldId="2147483660"/>
              <pc:sldLayoutMk cId="1012121389" sldId="2147483664"/>
              <ac:picMk id="7" creationId="{4E6AE9F2-FD11-5FF1-C6B9-0C04B48C3F37}"/>
            </ac:picMkLst>
          </pc:picChg>
        </pc:sldLayoutChg>
        <pc:sldLayoutChg chg="addSp modSp">
          <pc:chgData name="Varun Channa - Synergy Consulting" userId="3e729d5e-301a-430c-9ffe-1118f947c2aa" providerId="ADAL" clId="{E0E92494-C4F9-4F9E-8F6F-A2344A2C910C}" dt="2025-12-16T17:24:48.265" v="59"/>
          <pc:sldLayoutMkLst>
            <pc:docMk/>
            <pc:sldMasterMk cId="3769787521" sldId="2147483660"/>
            <pc:sldLayoutMk cId="2716861370" sldId="2147483665"/>
          </pc:sldLayoutMkLst>
          <pc:picChg chg="add mod">
            <ac:chgData name="Varun Channa - Synergy Consulting" userId="3e729d5e-301a-430c-9ffe-1118f947c2aa" providerId="ADAL" clId="{E0E92494-C4F9-4F9E-8F6F-A2344A2C910C}" dt="2025-12-16T17:24:48.265" v="59"/>
            <ac:picMkLst>
              <pc:docMk/>
              <pc:sldMasterMk cId="3769787521" sldId="2147483660"/>
              <pc:sldLayoutMk cId="2716861370" sldId="2147483665"/>
              <ac:picMk id="4" creationId="{76BC3B15-A011-CE68-245E-F21095AFAB77}"/>
            </ac:picMkLst>
          </pc:picChg>
        </pc:sldLayoutChg>
        <pc:sldLayoutChg chg="addSp modSp">
          <pc:chgData name="Varun Channa - Synergy Consulting" userId="3e729d5e-301a-430c-9ffe-1118f947c2aa" providerId="ADAL" clId="{E0E92494-C4F9-4F9E-8F6F-A2344A2C910C}" dt="2025-12-16T17:24:49.690" v="60"/>
          <pc:sldLayoutMkLst>
            <pc:docMk/>
            <pc:sldMasterMk cId="3769787521" sldId="2147483660"/>
            <pc:sldLayoutMk cId="3374645310" sldId="2147483666"/>
          </pc:sldLayoutMkLst>
          <pc:picChg chg="add mod">
            <ac:chgData name="Varun Channa - Synergy Consulting" userId="3e729d5e-301a-430c-9ffe-1118f947c2aa" providerId="ADAL" clId="{E0E92494-C4F9-4F9E-8F6F-A2344A2C910C}" dt="2025-12-16T17:24:49.690" v="60"/>
            <ac:picMkLst>
              <pc:docMk/>
              <pc:sldMasterMk cId="3769787521" sldId="2147483660"/>
              <pc:sldLayoutMk cId="3374645310" sldId="2147483666"/>
              <ac:picMk id="2" creationId="{8853ED10-A080-2A40-8361-CAEE4288A03C}"/>
            </ac:picMkLst>
          </pc:picChg>
        </pc:sldLayoutChg>
        <pc:sldLayoutChg chg="addSp modSp">
          <pc:chgData name="Varun Channa - Synergy Consulting" userId="3e729d5e-301a-430c-9ffe-1118f947c2aa" providerId="ADAL" clId="{E0E92494-C4F9-4F9E-8F6F-A2344A2C910C}" dt="2025-12-16T17:24:50.835" v="61"/>
          <pc:sldLayoutMkLst>
            <pc:docMk/>
            <pc:sldMasterMk cId="3769787521" sldId="2147483660"/>
            <pc:sldLayoutMk cId="3069404522" sldId="2147483667"/>
          </pc:sldLayoutMkLst>
          <pc:picChg chg="add mod">
            <ac:chgData name="Varun Channa - Synergy Consulting" userId="3e729d5e-301a-430c-9ffe-1118f947c2aa" providerId="ADAL" clId="{E0E92494-C4F9-4F9E-8F6F-A2344A2C910C}" dt="2025-12-16T17:24:50.835" v="61"/>
            <ac:picMkLst>
              <pc:docMk/>
              <pc:sldMasterMk cId="3769787521" sldId="2147483660"/>
              <pc:sldLayoutMk cId="3069404522" sldId="2147483667"/>
              <ac:picMk id="9" creationId="{39188C86-009F-6BB0-B972-2D0923AFFE4D}"/>
            </ac:picMkLst>
          </pc:picChg>
        </pc:sldLayoutChg>
        <pc:sldLayoutChg chg="addSp delSp modSp mod">
          <pc:chgData name="Varun Channa - Synergy Consulting" userId="3e729d5e-301a-430c-9ffe-1118f947c2aa" providerId="ADAL" clId="{E0E92494-C4F9-4F9E-8F6F-A2344A2C910C}" dt="2025-12-16T17:26:07.891" v="71" actId="1076"/>
          <pc:sldLayoutMkLst>
            <pc:docMk/>
            <pc:sldMasterMk cId="3769787521" sldId="2147483660"/>
            <pc:sldLayoutMk cId="3633363421" sldId="2147483668"/>
          </pc:sldLayoutMkLst>
          <pc:grpChg chg="del">
            <ac:chgData name="Varun Channa - Synergy Consulting" userId="3e729d5e-301a-430c-9ffe-1118f947c2aa" providerId="ADAL" clId="{E0E92494-C4F9-4F9E-8F6F-A2344A2C910C}" dt="2025-12-16T17:26:01.220" v="68" actId="478"/>
            <ac:grpSpMkLst>
              <pc:docMk/>
              <pc:sldMasterMk cId="3769787521" sldId="2147483660"/>
              <pc:sldLayoutMk cId="3633363421" sldId="2147483668"/>
              <ac:grpSpMk id="20" creationId="{52C754BA-8B29-8C6D-F762-A88846C98D32}"/>
            </ac:grpSpMkLst>
          </pc:grpChg>
          <pc:picChg chg="add del mod">
            <ac:chgData name="Varun Channa - Synergy Consulting" userId="3e729d5e-301a-430c-9ffe-1118f947c2aa" providerId="ADAL" clId="{E0E92494-C4F9-4F9E-8F6F-A2344A2C910C}" dt="2025-12-16T17:25:59.629" v="67" actId="478"/>
            <ac:picMkLst>
              <pc:docMk/>
              <pc:sldMasterMk cId="3769787521" sldId="2147483660"/>
              <pc:sldLayoutMk cId="3633363421" sldId="2147483668"/>
              <ac:picMk id="5" creationId="{DC17CF06-6B5C-C033-4DFE-A5B9C0D19F92}"/>
            </ac:picMkLst>
          </pc:picChg>
          <pc:picChg chg="add del mod">
            <ac:chgData name="Varun Channa - Synergy Consulting" userId="3e729d5e-301a-430c-9ffe-1118f947c2aa" providerId="ADAL" clId="{E0E92494-C4F9-4F9E-8F6F-A2344A2C910C}" dt="2025-12-16T17:26:03.737" v="69" actId="478"/>
            <ac:picMkLst>
              <pc:docMk/>
              <pc:sldMasterMk cId="3769787521" sldId="2147483660"/>
              <pc:sldLayoutMk cId="3633363421" sldId="2147483668"/>
              <ac:picMk id="8" creationId="{30AF6136-5D3A-5DD1-27C9-47ECB5DC53E7}"/>
            </ac:picMkLst>
          </pc:picChg>
          <pc:picChg chg="add del mod">
            <ac:chgData name="Varun Channa - Synergy Consulting" userId="3e729d5e-301a-430c-9ffe-1118f947c2aa" providerId="ADAL" clId="{E0E92494-C4F9-4F9E-8F6F-A2344A2C910C}" dt="2025-12-16T17:25:58.054" v="66" actId="478"/>
            <ac:picMkLst>
              <pc:docMk/>
              <pc:sldMasterMk cId="3769787521" sldId="2147483660"/>
              <pc:sldLayoutMk cId="3633363421" sldId="2147483668"/>
              <ac:picMk id="17" creationId="{1D73EAC2-3858-0D3F-57D1-F4D88313C17B}"/>
            </ac:picMkLst>
          </pc:picChg>
          <pc:picChg chg="add mod">
            <ac:chgData name="Varun Channa - Synergy Consulting" userId="3e729d5e-301a-430c-9ffe-1118f947c2aa" providerId="ADAL" clId="{E0E92494-C4F9-4F9E-8F6F-A2344A2C910C}" dt="2025-12-16T17:26:07.891" v="71" actId="1076"/>
            <ac:picMkLst>
              <pc:docMk/>
              <pc:sldMasterMk cId="3769787521" sldId="2147483660"/>
              <pc:sldLayoutMk cId="3633363421" sldId="2147483668"/>
              <ac:picMk id="19" creationId="{5E89D1DF-46A1-9A30-E18B-726B6380D323}"/>
            </ac:picMkLst>
          </pc:picChg>
        </pc:sldLayoutChg>
      </pc:sldMasterChg>
    </pc:docChg>
  </pc:docChgLst>
  <pc:docChgLst>
    <pc:chgData name="Varun Channa" userId="3e729d5e-301a-430c-9ffe-1118f947c2aa" providerId="ADAL" clId="{EB6C9049-7F34-46C4-B5A4-D54C6DAF5AF4}"/>
    <pc:docChg chg="modMainMaster">
      <pc:chgData name="Varun Channa" userId="3e729d5e-301a-430c-9ffe-1118f947c2aa" providerId="ADAL" clId="{EB6C9049-7F34-46C4-B5A4-D54C6DAF5AF4}" dt="2025-11-08T05:50:02.848" v="20" actId="1035"/>
      <pc:docMkLst>
        <pc:docMk/>
      </pc:docMkLst>
      <pc:sldMasterChg chg="modSldLayout">
        <pc:chgData name="Varun Channa" userId="3e729d5e-301a-430c-9ffe-1118f947c2aa" providerId="ADAL" clId="{EB6C9049-7F34-46C4-B5A4-D54C6DAF5AF4}" dt="2025-11-08T05:50:02.848" v="20" actId="1035"/>
        <pc:sldMasterMkLst>
          <pc:docMk/>
          <pc:sldMasterMk cId="3769787521" sldId="2147483660"/>
        </pc:sldMasterMkLst>
        <pc:sldLayoutChg chg="modSp mod">
          <pc:chgData name="Varun Channa" userId="3e729d5e-301a-430c-9ffe-1118f947c2aa" providerId="ADAL" clId="{EB6C9049-7F34-46C4-B5A4-D54C6DAF5AF4}" dt="2025-11-08T05:50:02.848" v="20" actId="1035"/>
          <pc:sldLayoutMkLst>
            <pc:docMk/>
            <pc:sldMasterMk cId="3769787521" sldId="2147483660"/>
            <pc:sldLayoutMk cId="3633363421" sldId="2147483668"/>
          </pc:sldLayoutMkLst>
          <pc:cxnChg chg="mod">
            <ac:chgData name="Varun Channa" userId="3e729d5e-301a-430c-9ffe-1118f947c2aa" providerId="ADAL" clId="{EB6C9049-7F34-46C4-B5A4-D54C6DAF5AF4}" dt="2025-11-08T05:50:02.848" v="20" actId="1035"/>
            <ac:cxnSpMkLst>
              <pc:docMk/>
              <pc:sldMasterMk cId="3769787521" sldId="2147483660"/>
              <pc:sldLayoutMk cId="3633363421" sldId="2147483668"/>
              <ac:cxnSpMk id="9" creationId="{854C256B-320D-400F-A9CB-5E8A1D2E85B8}"/>
            </ac:cxnSpMkLst>
          </pc:cxn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8826C3B-2648-8E8F-E7D6-963B6D8454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14A13F-5823-2E0F-42E2-D9A0CA5AED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372C3A-37DB-4C63-AD8F-40AA901402A0}" type="datetimeFigureOut">
              <a:rPr lang="en-US" smtClean="0"/>
              <a:t>12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A504B2-883C-B3CE-0751-7F973BC4CF5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631128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5259FA-8B40-488D-BB34-08181376DE52}" type="datetimeFigureOut">
              <a:rPr lang="en-US" smtClean="0"/>
              <a:t>12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19BED2-A760-4BFF-9437-DAF3644288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863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lIns="94851" tIns="47425" rIns="94851" bIns="47425"/>
          <a:lstStyle/>
          <a:p>
            <a:pPr marL="0" marR="0" lvl="0" indent="0" algn="r" defTabSz="948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37212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2.png"/><Relationship Id="rId4" Type="http://schemas.openxmlformats.org/officeDocument/2006/relationships/tags" Target="../tags/tag8.xml"/><Relationship Id="rId9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2.png"/><Relationship Id="rId4" Type="http://schemas.openxmlformats.org/officeDocument/2006/relationships/tags" Target="../tags/tag15.xml"/><Relationship Id="rId9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2.png"/><Relationship Id="rId4" Type="http://schemas.openxmlformats.org/officeDocument/2006/relationships/tags" Target="../tags/tag19.xml"/><Relationship Id="rId9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2.png"/><Relationship Id="rId4" Type="http://schemas.openxmlformats.org/officeDocument/2006/relationships/tags" Target="../tags/tag26.xml"/><Relationship Id="rId9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png"/><Relationship Id="rId4" Type="http://schemas.openxmlformats.org/officeDocument/2006/relationships/tags" Target="../tags/tag30.xml"/><Relationship Id="rId9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5" hidden="1">
            <a:extLst>
              <a:ext uri="{FF2B5EF4-FFF2-40B4-BE49-F238E27FC236}">
                <a16:creationId xmlns:a16="http://schemas.microsoft.com/office/drawing/2014/main" id="{7201A1EA-4666-4296-A47B-A0F1CB0E59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5" hidden="1">
                        <a:extLst>
                          <a:ext uri="{FF2B5EF4-FFF2-40B4-BE49-F238E27FC236}">
                            <a16:creationId xmlns:a16="http://schemas.microsoft.com/office/drawing/2014/main" id="{7201A1EA-4666-4296-A47B-A0F1CB0E593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6A0F731-37A1-49CD-8DF6-F89BBC6708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3600" b="1" dirty="0">
              <a:solidFill>
                <a:schemeClr val="tx1"/>
              </a:solidFill>
              <a:latin typeface="Libre Franklin" panose="00000500000000000000" charset="0"/>
              <a:ea typeface="+mj-ea"/>
              <a:cs typeface="+mj-cs"/>
              <a:sym typeface="Libre Franklin" panose="00000500000000000000" charset="0"/>
            </a:endParaRP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E4E81212-2BB9-4074-B5C0-0DD0D48477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BEA9BBA-9145-4A21-9179-59556018CB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3725" y="6399213"/>
            <a:ext cx="7307263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227013" indent="-227013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defRPr/>
            </a:pPr>
            <a:fld id="{68B20503-7D48-4C78-8346-D49CD53CB207}" type="slidenum">
              <a:rPr lang="en-US" altLang="en-US" sz="1000" smtClean="0"/>
              <a:pPr eaLnBrk="1" hangingPunct="1">
                <a:defRPr/>
              </a:pPr>
              <a:t>‹#›</a:t>
            </a:fld>
            <a:r>
              <a:rPr lang="en-US" altLang="en-US" sz="700"/>
              <a:t>	© 2020 Synergy Consulting. Private and Confidential: For Limited Circulation Only.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1E0A96C-40FA-347C-1B7E-A6A61B347DC8}"/>
              </a:ext>
            </a:extLst>
          </p:cNvPr>
          <p:cNvGrpSpPr/>
          <p:nvPr userDrawn="1"/>
        </p:nvGrpSpPr>
        <p:grpSpPr>
          <a:xfrm>
            <a:off x="10752571" y="6262160"/>
            <a:ext cx="1277503" cy="393167"/>
            <a:chOff x="4343836" y="6366536"/>
            <a:chExt cx="1096960" cy="315930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11F9F32-E174-0DBC-1DFF-086ED1942644}"/>
                </a:ext>
              </a:extLst>
            </p:cNvPr>
            <p:cNvGrpSpPr/>
            <p:nvPr userDrawn="1"/>
          </p:nvGrpSpPr>
          <p:grpSpPr>
            <a:xfrm>
              <a:off x="4343836" y="6366536"/>
              <a:ext cx="675862" cy="235834"/>
              <a:chOff x="-1312871" y="647298"/>
              <a:chExt cx="15115498" cy="5563402"/>
            </a:xfrm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207E7827-F996-A493-BA4F-93CD4534128E}"/>
                  </a:ext>
                </a:extLst>
              </p:cNvPr>
              <p:cNvSpPr/>
              <p:nvPr/>
            </p:nvSpPr>
            <p:spPr>
              <a:xfrm>
                <a:off x="4421793" y="647298"/>
                <a:ext cx="3749967" cy="5563400"/>
              </a:xfrm>
              <a:custGeom>
                <a:avLst/>
                <a:gdLst>
                  <a:gd name="connsiteX0" fmla="*/ 539014 w 2080480"/>
                  <a:gd name="connsiteY0" fmla="*/ 729114 h 2916457"/>
                  <a:gd name="connsiteX1" fmla="*/ 539014 w 2080480"/>
                  <a:gd name="connsiteY1" fmla="*/ 2187342 h 2916457"/>
                  <a:gd name="connsiteX2" fmla="*/ 702731 w 2080480"/>
                  <a:gd name="connsiteY2" fmla="*/ 2172529 h 2916457"/>
                  <a:gd name="connsiteX3" fmla="*/ 1351366 w 2080480"/>
                  <a:gd name="connsiteY3" fmla="*/ 1458228 h 2916457"/>
                  <a:gd name="connsiteX4" fmla="*/ 702731 w 2080480"/>
                  <a:gd name="connsiteY4" fmla="*/ 743927 h 2916457"/>
                  <a:gd name="connsiteX5" fmla="*/ 0 w 2080480"/>
                  <a:gd name="connsiteY5" fmla="*/ 0 h 2916457"/>
                  <a:gd name="connsiteX6" fmla="*/ 539014 w 2080480"/>
                  <a:gd name="connsiteY6" fmla="*/ 0 h 2916457"/>
                  <a:gd name="connsiteX7" fmla="*/ 539014 w 2080480"/>
                  <a:gd name="connsiteY7" fmla="*/ 1 h 2916457"/>
                  <a:gd name="connsiteX8" fmla="*/ 696620 w 2080480"/>
                  <a:gd name="connsiteY8" fmla="*/ 7529 h 2916457"/>
                  <a:gd name="connsiteX9" fmla="*/ 2080480 w 2080480"/>
                  <a:gd name="connsiteY9" fmla="*/ 1458229 h 2916457"/>
                  <a:gd name="connsiteX10" fmla="*/ 539014 w 2080480"/>
                  <a:gd name="connsiteY10" fmla="*/ 2916457 h 2916457"/>
                  <a:gd name="connsiteX11" fmla="*/ 539014 w 2080480"/>
                  <a:gd name="connsiteY11" fmla="*/ 2916455 h 2916457"/>
                  <a:gd name="connsiteX12" fmla="*/ 0 w 2080480"/>
                  <a:gd name="connsiteY12" fmla="*/ 2916455 h 2916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80480" h="2916457">
                    <a:moveTo>
                      <a:pt x="539014" y="729114"/>
                    </a:moveTo>
                    <a:lnTo>
                      <a:pt x="539014" y="2187342"/>
                    </a:lnTo>
                    <a:lnTo>
                      <a:pt x="702731" y="2172529"/>
                    </a:lnTo>
                    <a:cubicBezTo>
                      <a:pt x="1072906" y="2104542"/>
                      <a:pt x="1351366" y="1810572"/>
                      <a:pt x="1351366" y="1458228"/>
                    </a:cubicBezTo>
                    <a:cubicBezTo>
                      <a:pt x="1351366" y="1105884"/>
                      <a:pt x="1072906" y="811914"/>
                      <a:pt x="702731" y="743927"/>
                    </a:cubicBezTo>
                    <a:close/>
                    <a:moveTo>
                      <a:pt x="0" y="0"/>
                    </a:moveTo>
                    <a:lnTo>
                      <a:pt x="539014" y="0"/>
                    </a:lnTo>
                    <a:lnTo>
                      <a:pt x="539014" y="1"/>
                    </a:lnTo>
                    <a:lnTo>
                      <a:pt x="696620" y="7529"/>
                    </a:lnTo>
                    <a:cubicBezTo>
                      <a:pt x="1473913" y="82205"/>
                      <a:pt x="2080480" y="703206"/>
                      <a:pt x="2080480" y="1458229"/>
                    </a:cubicBezTo>
                    <a:cubicBezTo>
                      <a:pt x="2080480" y="2263586"/>
                      <a:pt x="1390342" y="2916457"/>
                      <a:pt x="539014" y="2916457"/>
                    </a:cubicBezTo>
                    <a:lnTo>
                      <a:pt x="539014" y="2916455"/>
                    </a:lnTo>
                    <a:lnTo>
                      <a:pt x="0" y="2916455"/>
                    </a:lnTo>
                    <a:close/>
                  </a:path>
                </a:pathLst>
              </a:custGeom>
              <a:gradFill>
                <a:gsLst>
                  <a:gs pos="40000">
                    <a:srgbClr val="FAB41F"/>
                  </a:gs>
                  <a:gs pos="48000">
                    <a:srgbClr val="F79115"/>
                  </a:gs>
                </a:gsLst>
                <a:lin ang="5400000" scaled="1"/>
              </a:gradFill>
              <a:ln>
                <a:solidFill>
                  <a:srgbClr val="F68A1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30" name="Block Arc 29">
                <a:extLst>
                  <a:ext uri="{FF2B5EF4-FFF2-40B4-BE49-F238E27FC236}">
                    <a16:creationId xmlns:a16="http://schemas.microsoft.com/office/drawing/2014/main" id="{801F7C0C-0628-5060-547D-B4726D669E6E}"/>
                  </a:ext>
                </a:extLst>
              </p:cNvPr>
              <p:cNvSpPr/>
              <p:nvPr/>
            </p:nvSpPr>
            <p:spPr>
              <a:xfrm rot="16200000">
                <a:off x="8242509" y="650580"/>
                <a:ext cx="5563396" cy="5556840"/>
              </a:xfrm>
              <a:prstGeom prst="blockArc">
                <a:avLst>
                  <a:gd name="adj1" fmla="val 10800000"/>
                  <a:gd name="adj2" fmla="val 47466"/>
                  <a:gd name="adj3" fmla="val 23853"/>
                </a:avLst>
              </a:prstGeom>
              <a:gradFill flip="none" rotWithShape="1">
                <a:gsLst>
                  <a:gs pos="5000">
                    <a:srgbClr val="58BC66"/>
                  </a:gs>
                  <a:gs pos="94000">
                    <a:srgbClr val="0895A0"/>
                  </a:gs>
                </a:gsLst>
                <a:lin ang="540000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5D5B2E0E-26A8-267F-B4CE-225D0EE753FB}"/>
                  </a:ext>
                </a:extLst>
              </p:cNvPr>
              <p:cNvSpPr/>
              <p:nvPr/>
            </p:nvSpPr>
            <p:spPr>
              <a:xfrm>
                <a:off x="2762449" y="647298"/>
                <a:ext cx="1370578" cy="5563402"/>
              </a:xfrm>
              <a:prstGeom prst="roundRect">
                <a:avLst>
                  <a:gd name="adj" fmla="val 0"/>
                </a:avLst>
              </a:prstGeom>
              <a:gradFill flip="none" rotWithShape="1">
                <a:gsLst>
                  <a:gs pos="83000">
                    <a:schemeClr val="accent6">
                      <a:lumMod val="95000"/>
                      <a:lumOff val="5000"/>
                    </a:schemeClr>
                  </a:gs>
                  <a:gs pos="94000">
                    <a:srgbClr val="00954D"/>
                  </a:gs>
                </a:gsLst>
                <a:lin ang="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73CF81E0-DD9F-D625-6CBE-C2B661D9CC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-1312871" y="733306"/>
                <a:ext cx="4038307" cy="5473164"/>
              </a:xfrm>
              <a:prstGeom prst="rect">
                <a:avLst/>
              </a:prstGeom>
            </p:spPr>
          </p:pic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687F070-ABC0-6A66-8203-A265104EDDB2}"/>
                </a:ext>
              </a:extLst>
            </p:cNvPr>
            <p:cNvSpPr txBox="1"/>
            <p:nvPr userDrawn="1"/>
          </p:nvSpPr>
          <p:spPr>
            <a:xfrm>
              <a:off x="4343836" y="6595906"/>
              <a:ext cx="1096960" cy="865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00" b="1" dirty="0" err="1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InfraDev</a:t>
              </a:r>
              <a:r>
                <a:rPr lang="en-US" sz="700" b="1" dirty="0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 Consulting Private Limited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1415B794-A480-D48D-5DAB-B24D6059B7A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752571" y="5999006"/>
            <a:ext cx="1143093" cy="69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5762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out Syner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738E7B6B-70A4-4475-8437-02F1B2E07F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738E7B6B-70A4-4475-8437-02F1B2E07F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1C5F369-6D71-4FB5-8741-DB603EEA1B8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latin typeface="Libre Franklin" panose="00000500000000000000" pitchFamily="2" charset="0"/>
              <a:ea typeface="+mj-ea"/>
              <a:cs typeface="+mj-cs"/>
              <a:sym typeface="Libre Franklin" panose="00000500000000000000" pitchFamily="2" charset="0"/>
            </a:endParaRPr>
          </a:p>
        </p:txBody>
      </p:sp>
      <p:graphicFrame>
        <p:nvGraphicFramePr>
          <p:cNvPr id="6" name="Object 9" hidden="1">
            <a:extLst>
              <a:ext uri="{FF2B5EF4-FFF2-40B4-BE49-F238E27FC236}">
                <a16:creationId xmlns:a16="http://schemas.microsoft.com/office/drawing/2014/main" id="{E0D1734E-1D4E-4820-A761-393B3B662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" name="Object 9" hidden="1">
                        <a:extLst>
                          <a:ext uri="{FF2B5EF4-FFF2-40B4-BE49-F238E27FC236}">
                            <a16:creationId xmlns:a16="http://schemas.microsoft.com/office/drawing/2014/main" id="{E0D1734E-1D4E-4820-A761-393B3B6623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8AA33DC-DE6E-4086-AF13-2B658E87E32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solidFill>
                <a:schemeClr val="tx1"/>
              </a:solidFill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30" name="Title Placeholder 12"/>
          <p:cNvSpPr>
            <a:spLocks noGrp="1"/>
          </p:cNvSpPr>
          <p:nvPr>
            <p:ph type="title"/>
          </p:nvPr>
        </p:nvSpPr>
        <p:spPr>
          <a:xfrm>
            <a:off x="593725" y="603250"/>
            <a:ext cx="5883275" cy="4688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06F92F5-08B0-4BDE-8807-83CB2766EF4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3725" y="6381751"/>
            <a:ext cx="7307263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227013" indent="-227013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defRPr/>
            </a:pPr>
            <a:fld id="{4BEC74A8-881B-4298-9240-BD8D6DC03A34}" type="slidenum">
              <a:rPr lang="en-US" altLang="en-US" sz="1000" smtClean="0"/>
              <a:pPr eaLnBrk="1" hangingPunct="1">
                <a:defRPr/>
              </a:pPr>
              <a:t>‹#›</a:t>
            </a:fld>
            <a:r>
              <a:rPr lang="en-US" altLang="en-US" sz="700" dirty="0"/>
              <a:t>	   © 2025 Synergy Consulting. Private and Confidential: For Limited Circulation Only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B70CD27-1C59-45A5-A7C1-02EFCF397922}"/>
              </a:ext>
            </a:extLst>
          </p:cNvPr>
          <p:cNvSpPr/>
          <p:nvPr userDrawn="1"/>
        </p:nvSpPr>
        <p:spPr>
          <a:xfrm>
            <a:off x="0" y="6731001"/>
            <a:ext cx="12192000" cy="126999"/>
          </a:xfrm>
          <a:prstGeom prst="rect">
            <a:avLst/>
          </a:prstGeom>
          <a:solidFill>
            <a:srgbClr val="2FA8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DDA7A855-36F8-5827-01E5-00BAC794895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38700" y="1970532"/>
            <a:ext cx="2514600" cy="291693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6A4C679-C177-8E05-8B8D-A3B329E4973B}"/>
              </a:ext>
            </a:extLst>
          </p:cNvPr>
          <p:cNvGrpSpPr/>
          <p:nvPr userDrawn="1"/>
        </p:nvGrpSpPr>
        <p:grpSpPr>
          <a:xfrm>
            <a:off x="10752571" y="6262160"/>
            <a:ext cx="1277503" cy="393167"/>
            <a:chOff x="4343836" y="6366536"/>
            <a:chExt cx="1096960" cy="31593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DFD9E71-A025-BDFC-F82F-DE68ED7C9903}"/>
                </a:ext>
              </a:extLst>
            </p:cNvPr>
            <p:cNvGrpSpPr/>
            <p:nvPr userDrawn="1"/>
          </p:nvGrpSpPr>
          <p:grpSpPr>
            <a:xfrm>
              <a:off x="4343836" y="6366536"/>
              <a:ext cx="675862" cy="235834"/>
              <a:chOff x="-1312871" y="647298"/>
              <a:chExt cx="15115498" cy="5563402"/>
            </a:xfrm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7DB698DF-ECA0-E871-D9BC-6B87F4EB60FA}"/>
                  </a:ext>
                </a:extLst>
              </p:cNvPr>
              <p:cNvSpPr/>
              <p:nvPr/>
            </p:nvSpPr>
            <p:spPr>
              <a:xfrm>
                <a:off x="4421793" y="647298"/>
                <a:ext cx="3749967" cy="5563400"/>
              </a:xfrm>
              <a:custGeom>
                <a:avLst/>
                <a:gdLst>
                  <a:gd name="connsiteX0" fmla="*/ 539014 w 2080480"/>
                  <a:gd name="connsiteY0" fmla="*/ 729114 h 2916457"/>
                  <a:gd name="connsiteX1" fmla="*/ 539014 w 2080480"/>
                  <a:gd name="connsiteY1" fmla="*/ 2187342 h 2916457"/>
                  <a:gd name="connsiteX2" fmla="*/ 702731 w 2080480"/>
                  <a:gd name="connsiteY2" fmla="*/ 2172529 h 2916457"/>
                  <a:gd name="connsiteX3" fmla="*/ 1351366 w 2080480"/>
                  <a:gd name="connsiteY3" fmla="*/ 1458228 h 2916457"/>
                  <a:gd name="connsiteX4" fmla="*/ 702731 w 2080480"/>
                  <a:gd name="connsiteY4" fmla="*/ 743927 h 2916457"/>
                  <a:gd name="connsiteX5" fmla="*/ 0 w 2080480"/>
                  <a:gd name="connsiteY5" fmla="*/ 0 h 2916457"/>
                  <a:gd name="connsiteX6" fmla="*/ 539014 w 2080480"/>
                  <a:gd name="connsiteY6" fmla="*/ 0 h 2916457"/>
                  <a:gd name="connsiteX7" fmla="*/ 539014 w 2080480"/>
                  <a:gd name="connsiteY7" fmla="*/ 1 h 2916457"/>
                  <a:gd name="connsiteX8" fmla="*/ 696620 w 2080480"/>
                  <a:gd name="connsiteY8" fmla="*/ 7529 h 2916457"/>
                  <a:gd name="connsiteX9" fmla="*/ 2080480 w 2080480"/>
                  <a:gd name="connsiteY9" fmla="*/ 1458229 h 2916457"/>
                  <a:gd name="connsiteX10" fmla="*/ 539014 w 2080480"/>
                  <a:gd name="connsiteY10" fmla="*/ 2916457 h 2916457"/>
                  <a:gd name="connsiteX11" fmla="*/ 539014 w 2080480"/>
                  <a:gd name="connsiteY11" fmla="*/ 2916455 h 2916457"/>
                  <a:gd name="connsiteX12" fmla="*/ 0 w 2080480"/>
                  <a:gd name="connsiteY12" fmla="*/ 2916455 h 2916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80480" h="2916457">
                    <a:moveTo>
                      <a:pt x="539014" y="729114"/>
                    </a:moveTo>
                    <a:lnTo>
                      <a:pt x="539014" y="2187342"/>
                    </a:lnTo>
                    <a:lnTo>
                      <a:pt x="702731" y="2172529"/>
                    </a:lnTo>
                    <a:cubicBezTo>
                      <a:pt x="1072906" y="2104542"/>
                      <a:pt x="1351366" y="1810572"/>
                      <a:pt x="1351366" y="1458228"/>
                    </a:cubicBezTo>
                    <a:cubicBezTo>
                      <a:pt x="1351366" y="1105884"/>
                      <a:pt x="1072906" y="811914"/>
                      <a:pt x="702731" y="743927"/>
                    </a:cubicBezTo>
                    <a:close/>
                    <a:moveTo>
                      <a:pt x="0" y="0"/>
                    </a:moveTo>
                    <a:lnTo>
                      <a:pt x="539014" y="0"/>
                    </a:lnTo>
                    <a:lnTo>
                      <a:pt x="539014" y="1"/>
                    </a:lnTo>
                    <a:lnTo>
                      <a:pt x="696620" y="7529"/>
                    </a:lnTo>
                    <a:cubicBezTo>
                      <a:pt x="1473913" y="82205"/>
                      <a:pt x="2080480" y="703206"/>
                      <a:pt x="2080480" y="1458229"/>
                    </a:cubicBezTo>
                    <a:cubicBezTo>
                      <a:pt x="2080480" y="2263586"/>
                      <a:pt x="1390342" y="2916457"/>
                      <a:pt x="539014" y="2916457"/>
                    </a:cubicBezTo>
                    <a:lnTo>
                      <a:pt x="539014" y="2916455"/>
                    </a:lnTo>
                    <a:lnTo>
                      <a:pt x="0" y="2916455"/>
                    </a:lnTo>
                    <a:close/>
                  </a:path>
                </a:pathLst>
              </a:custGeom>
              <a:gradFill>
                <a:gsLst>
                  <a:gs pos="40000">
                    <a:srgbClr val="FAB41F"/>
                  </a:gs>
                  <a:gs pos="48000">
                    <a:srgbClr val="F79115"/>
                  </a:gs>
                </a:gsLst>
                <a:lin ang="5400000" scaled="1"/>
              </a:gradFill>
              <a:ln>
                <a:solidFill>
                  <a:srgbClr val="F68A1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" name="Block Arc 12">
                <a:extLst>
                  <a:ext uri="{FF2B5EF4-FFF2-40B4-BE49-F238E27FC236}">
                    <a16:creationId xmlns:a16="http://schemas.microsoft.com/office/drawing/2014/main" id="{5205BAB4-E9F1-4369-16FC-D01FFD357905}"/>
                  </a:ext>
                </a:extLst>
              </p:cNvPr>
              <p:cNvSpPr/>
              <p:nvPr/>
            </p:nvSpPr>
            <p:spPr>
              <a:xfrm rot="16200000">
                <a:off x="8242509" y="650580"/>
                <a:ext cx="5563396" cy="5556840"/>
              </a:xfrm>
              <a:prstGeom prst="blockArc">
                <a:avLst>
                  <a:gd name="adj1" fmla="val 10800000"/>
                  <a:gd name="adj2" fmla="val 47466"/>
                  <a:gd name="adj3" fmla="val 23853"/>
                </a:avLst>
              </a:prstGeom>
              <a:gradFill flip="none" rotWithShape="1">
                <a:gsLst>
                  <a:gs pos="5000">
                    <a:srgbClr val="58BC66"/>
                  </a:gs>
                  <a:gs pos="94000">
                    <a:srgbClr val="0895A0"/>
                  </a:gs>
                </a:gsLst>
                <a:lin ang="540000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F180F90D-EF06-4BED-AA55-AFCDF8161080}"/>
                  </a:ext>
                </a:extLst>
              </p:cNvPr>
              <p:cNvSpPr/>
              <p:nvPr/>
            </p:nvSpPr>
            <p:spPr>
              <a:xfrm>
                <a:off x="2762449" y="647298"/>
                <a:ext cx="1370578" cy="5563402"/>
              </a:xfrm>
              <a:prstGeom prst="roundRect">
                <a:avLst>
                  <a:gd name="adj" fmla="val 0"/>
                </a:avLst>
              </a:prstGeom>
              <a:gradFill flip="none" rotWithShape="1">
                <a:gsLst>
                  <a:gs pos="83000">
                    <a:schemeClr val="accent6">
                      <a:lumMod val="95000"/>
                      <a:lumOff val="5000"/>
                    </a:schemeClr>
                  </a:gs>
                  <a:gs pos="94000">
                    <a:srgbClr val="00954D"/>
                  </a:gs>
                </a:gsLst>
                <a:lin ang="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7FF63E79-AB1F-962F-E9F0-16E275DDF5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-1312871" y="733306"/>
                <a:ext cx="4038307" cy="5473164"/>
              </a:xfrm>
              <a:prstGeom prst="rect">
                <a:avLst/>
              </a:prstGeom>
            </p:spPr>
          </p:pic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35DD8AC-AC11-63AE-8349-B2A84BFA8661}"/>
                </a:ext>
              </a:extLst>
            </p:cNvPr>
            <p:cNvSpPr txBox="1"/>
            <p:nvPr userDrawn="1"/>
          </p:nvSpPr>
          <p:spPr>
            <a:xfrm>
              <a:off x="4343836" y="6595906"/>
              <a:ext cx="1096960" cy="865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00" b="1" dirty="0" err="1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InfraDev</a:t>
              </a:r>
              <a:r>
                <a:rPr lang="en-US" sz="700" b="1" dirty="0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 Consulting Private Limited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75F55C09-193E-B19D-AB94-3D745416319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752571" y="5999006"/>
            <a:ext cx="1143093" cy="69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514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bout Syner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738E7B6B-70A4-4475-8437-02F1B2E07F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6473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738E7B6B-70A4-4475-8437-02F1B2E07F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1C5F369-6D71-4FB5-8741-DB603EEA1B8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latin typeface="Libre Franklin" panose="00000500000000000000" pitchFamily="2" charset="0"/>
              <a:ea typeface="+mj-ea"/>
              <a:cs typeface="+mj-cs"/>
              <a:sym typeface="Libre Franklin" panose="00000500000000000000" pitchFamily="2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8AA33DC-DE6E-4086-AF13-2B658E87E3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solidFill>
                <a:schemeClr val="tx1"/>
              </a:solidFill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42D0E9-2715-49F1-938C-BB1F6D64DE6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3725" y="6381751"/>
            <a:ext cx="7307263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227013" indent="-227013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defRPr/>
            </a:pPr>
            <a:fld id="{4BEC74A8-881B-4298-9240-BD8D6DC03A34}" type="slidenum">
              <a:rPr lang="en-US" altLang="en-US" sz="1000" smtClean="0"/>
              <a:pPr eaLnBrk="1" hangingPunct="1">
                <a:defRPr/>
              </a:pPr>
              <a:t>‹#›</a:t>
            </a:fld>
            <a:r>
              <a:rPr lang="en-US" altLang="en-US" sz="700" dirty="0"/>
              <a:t>	   © 2025 Synergy Consulting. Private and Confidential: For Limited Circulation Only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54C256B-320D-400F-A9CB-5E8A1D2E85B8}"/>
              </a:ext>
            </a:extLst>
          </p:cNvPr>
          <p:cNvCxnSpPr>
            <a:cxnSpLocks/>
          </p:cNvCxnSpPr>
          <p:nvPr userDrawn="1"/>
        </p:nvCxnSpPr>
        <p:spPr>
          <a:xfrm>
            <a:off x="0" y="1081148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Placeholder 12"/>
          <p:cNvSpPr>
            <a:spLocks noGrp="1"/>
          </p:cNvSpPr>
          <p:nvPr>
            <p:ph type="title"/>
          </p:nvPr>
        </p:nvSpPr>
        <p:spPr>
          <a:xfrm>
            <a:off x="593724" y="603250"/>
            <a:ext cx="10881360" cy="468821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17959E6-48DE-76B2-F2E1-621A6E0F1BA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38700" y="1970532"/>
            <a:ext cx="2514600" cy="291693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0D805FE-32F9-B533-4EF1-7CC4EA2F74EE}"/>
              </a:ext>
            </a:extLst>
          </p:cNvPr>
          <p:cNvGrpSpPr/>
          <p:nvPr userDrawn="1"/>
        </p:nvGrpSpPr>
        <p:grpSpPr>
          <a:xfrm>
            <a:off x="10752571" y="6262160"/>
            <a:ext cx="1277503" cy="393167"/>
            <a:chOff x="4343836" y="6366536"/>
            <a:chExt cx="1096960" cy="31593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FAF93400-B19E-EBC7-E6CE-5FC7C557F559}"/>
                </a:ext>
              </a:extLst>
            </p:cNvPr>
            <p:cNvGrpSpPr/>
            <p:nvPr userDrawn="1"/>
          </p:nvGrpSpPr>
          <p:grpSpPr>
            <a:xfrm>
              <a:off x="4343836" y="6366536"/>
              <a:ext cx="675862" cy="235834"/>
              <a:chOff x="-1312871" y="647298"/>
              <a:chExt cx="15115498" cy="5563402"/>
            </a:xfrm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F8600BD0-A575-0DF0-95DC-2ACF9E07CF9C}"/>
                  </a:ext>
                </a:extLst>
              </p:cNvPr>
              <p:cNvSpPr/>
              <p:nvPr/>
            </p:nvSpPr>
            <p:spPr>
              <a:xfrm>
                <a:off x="4421793" y="647298"/>
                <a:ext cx="3749967" cy="5563400"/>
              </a:xfrm>
              <a:custGeom>
                <a:avLst/>
                <a:gdLst>
                  <a:gd name="connsiteX0" fmla="*/ 539014 w 2080480"/>
                  <a:gd name="connsiteY0" fmla="*/ 729114 h 2916457"/>
                  <a:gd name="connsiteX1" fmla="*/ 539014 w 2080480"/>
                  <a:gd name="connsiteY1" fmla="*/ 2187342 h 2916457"/>
                  <a:gd name="connsiteX2" fmla="*/ 702731 w 2080480"/>
                  <a:gd name="connsiteY2" fmla="*/ 2172529 h 2916457"/>
                  <a:gd name="connsiteX3" fmla="*/ 1351366 w 2080480"/>
                  <a:gd name="connsiteY3" fmla="*/ 1458228 h 2916457"/>
                  <a:gd name="connsiteX4" fmla="*/ 702731 w 2080480"/>
                  <a:gd name="connsiteY4" fmla="*/ 743927 h 2916457"/>
                  <a:gd name="connsiteX5" fmla="*/ 0 w 2080480"/>
                  <a:gd name="connsiteY5" fmla="*/ 0 h 2916457"/>
                  <a:gd name="connsiteX6" fmla="*/ 539014 w 2080480"/>
                  <a:gd name="connsiteY6" fmla="*/ 0 h 2916457"/>
                  <a:gd name="connsiteX7" fmla="*/ 539014 w 2080480"/>
                  <a:gd name="connsiteY7" fmla="*/ 1 h 2916457"/>
                  <a:gd name="connsiteX8" fmla="*/ 696620 w 2080480"/>
                  <a:gd name="connsiteY8" fmla="*/ 7529 h 2916457"/>
                  <a:gd name="connsiteX9" fmla="*/ 2080480 w 2080480"/>
                  <a:gd name="connsiteY9" fmla="*/ 1458229 h 2916457"/>
                  <a:gd name="connsiteX10" fmla="*/ 539014 w 2080480"/>
                  <a:gd name="connsiteY10" fmla="*/ 2916457 h 2916457"/>
                  <a:gd name="connsiteX11" fmla="*/ 539014 w 2080480"/>
                  <a:gd name="connsiteY11" fmla="*/ 2916455 h 2916457"/>
                  <a:gd name="connsiteX12" fmla="*/ 0 w 2080480"/>
                  <a:gd name="connsiteY12" fmla="*/ 2916455 h 2916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80480" h="2916457">
                    <a:moveTo>
                      <a:pt x="539014" y="729114"/>
                    </a:moveTo>
                    <a:lnTo>
                      <a:pt x="539014" y="2187342"/>
                    </a:lnTo>
                    <a:lnTo>
                      <a:pt x="702731" y="2172529"/>
                    </a:lnTo>
                    <a:cubicBezTo>
                      <a:pt x="1072906" y="2104542"/>
                      <a:pt x="1351366" y="1810572"/>
                      <a:pt x="1351366" y="1458228"/>
                    </a:cubicBezTo>
                    <a:cubicBezTo>
                      <a:pt x="1351366" y="1105884"/>
                      <a:pt x="1072906" y="811914"/>
                      <a:pt x="702731" y="743927"/>
                    </a:cubicBezTo>
                    <a:close/>
                    <a:moveTo>
                      <a:pt x="0" y="0"/>
                    </a:moveTo>
                    <a:lnTo>
                      <a:pt x="539014" y="0"/>
                    </a:lnTo>
                    <a:lnTo>
                      <a:pt x="539014" y="1"/>
                    </a:lnTo>
                    <a:lnTo>
                      <a:pt x="696620" y="7529"/>
                    </a:lnTo>
                    <a:cubicBezTo>
                      <a:pt x="1473913" y="82205"/>
                      <a:pt x="2080480" y="703206"/>
                      <a:pt x="2080480" y="1458229"/>
                    </a:cubicBezTo>
                    <a:cubicBezTo>
                      <a:pt x="2080480" y="2263586"/>
                      <a:pt x="1390342" y="2916457"/>
                      <a:pt x="539014" y="2916457"/>
                    </a:cubicBezTo>
                    <a:lnTo>
                      <a:pt x="539014" y="2916455"/>
                    </a:lnTo>
                    <a:lnTo>
                      <a:pt x="0" y="2916455"/>
                    </a:lnTo>
                    <a:close/>
                  </a:path>
                </a:pathLst>
              </a:custGeom>
              <a:gradFill>
                <a:gsLst>
                  <a:gs pos="40000">
                    <a:srgbClr val="FAB41F"/>
                  </a:gs>
                  <a:gs pos="48000">
                    <a:srgbClr val="F79115"/>
                  </a:gs>
                </a:gsLst>
                <a:lin ang="5400000" scaled="1"/>
              </a:gradFill>
              <a:ln>
                <a:solidFill>
                  <a:srgbClr val="F68A1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Block Arc 13">
                <a:extLst>
                  <a:ext uri="{FF2B5EF4-FFF2-40B4-BE49-F238E27FC236}">
                    <a16:creationId xmlns:a16="http://schemas.microsoft.com/office/drawing/2014/main" id="{B8A84B0C-C15C-E7F2-C5DD-EAEDE3A1F99C}"/>
                  </a:ext>
                </a:extLst>
              </p:cNvPr>
              <p:cNvSpPr/>
              <p:nvPr/>
            </p:nvSpPr>
            <p:spPr>
              <a:xfrm rot="16200000">
                <a:off x="8242509" y="650580"/>
                <a:ext cx="5563396" cy="5556840"/>
              </a:xfrm>
              <a:prstGeom prst="blockArc">
                <a:avLst>
                  <a:gd name="adj1" fmla="val 10800000"/>
                  <a:gd name="adj2" fmla="val 47466"/>
                  <a:gd name="adj3" fmla="val 23853"/>
                </a:avLst>
              </a:prstGeom>
              <a:gradFill flip="none" rotWithShape="1">
                <a:gsLst>
                  <a:gs pos="5000">
                    <a:srgbClr val="58BC66"/>
                  </a:gs>
                  <a:gs pos="94000">
                    <a:srgbClr val="0895A0"/>
                  </a:gs>
                </a:gsLst>
                <a:lin ang="540000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17BF8910-BF98-F06F-1586-57CD7EBAE764}"/>
                  </a:ext>
                </a:extLst>
              </p:cNvPr>
              <p:cNvSpPr/>
              <p:nvPr/>
            </p:nvSpPr>
            <p:spPr>
              <a:xfrm>
                <a:off x="2762449" y="647298"/>
                <a:ext cx="1370578" cy="5563402"/>
              </a:xfrm>
              <a:prstGeom prst="roundRect">
                <a:avLst>
                  <a:gd name="adj" fmla="val 0"/>
                </a:avLst>
              </a:prstGeom>
              <a:gradFill flip="none" rotWithShape="1">
                <a:gsLst>
                  <a:gs pos="83000">
                    <a:schemeClr val="accent6">
                      <a:lumMod val="95000"/>
                      <a:lumOff val="5000"/>
                    </a:schemeClr>
                  </a:gs>
                  <a:gs pos="94000">
                    <a:srgbClr val="00954D"/>
                  </a:gs>
                </a:gsLst>
                <a:lin ang="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ED0F6A8F-859D-F92E-87B6-7B836756A9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-1312871" y="733306"/>
                <a:ext cx="4038307" cy="5473164"/>
              </a:xfrm>
              <a:prstGeom prst="rect">
                <a:avLst/>
              </a:prstGeom>
            </p:spPr>
          </p:pic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38A7215-BBEF-30D3-BBA5-5F284B54E6B5}"/>
                </a:ext>
              </a:extLst>
            </p:cNvPr>
            <p:cNvSpPr txBox="1"/>
            <p:nvPr userDrawn="1"/>
          </p:nvSpPr>
          <p:spPr>
            <a:xfrm>
              <a:off x="4343836" y="6595906"/>
              <a:ext cx="1096960" cy="865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00" b="1" dirty="0" err="1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InfraDev</a:t>
              </a:r>
              <a:r>
                <a:rPr lang="en-US" sz="700" b="1" dirty="0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 Consulting Private Limited</a:t>
              </a: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499B5529-AE3E-DF97-B19F-1981867F4FDF}"/>
              </a:ext>
            </a:extLst>
          </p:cNvPr>
          <p:cNvSpPr/>
          <p:nvPr userDrawn="1"/>
        </p:nvSpPr>
        <p:spPr>
          <a:xfrm>
            <a:off x="0" y="6731001"/>
            <a:ext cx="12192000" cy="126999"/>
          </a:xfrm>
          <a:prstGeom prst="rect">
            <a:avLst/>
          </a:prstGeom>
          <a:solidFill>
            <a:srgbClr val="2FA8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F359D06-0012-D71C-0981-387D4C3C467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752571" y="5999006"/>
            <a:ext cx="1143093" cy="69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484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bout Syner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>
            <a:extLst>
              <a:ext uri="{FF2B5EF4-FFF2-40B4-BE49-F238E27FC236}">
                <a16:creationId xmlns:a16="http://schemas.microsoft.com/office/drawing/2014/main" id="{CD7AFF64-3114-44BC-9C38-8FD064911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" name="Object 3" hidden="1">
                        <a:extLst>
                          <a:ext uri="{FF2B5EF4-FFF2-40B4-BE49-F238E27FC236}">
                            <a16:creationId xmlns:a16="http://schemas.microsoft.com/office/drawing/2014/main" id="{CD7AFF64-3114-44BC-9C38-8FD0649117A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997B8F2-3CD0-4065-B959-96083DE54A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latin typeface="Libre Franklin" panose="00000500000000000000" pitchFamily="2" charset="0"/>
              <a:ea typeface="+mj-ea"/>
              <a:cs typeface="+mj-cs"/>
              <a:sym typeface="Libre Franklin" panose="00000500000000000000" pitchFamily="2" charset="0"/>
            </a:endParaRPr>
          </a:p>
        </p:txBody>
      </p:sp>
      <p:graphicFrame>
        <p:nvGraphicFramePr>
          <p:cNvPr id="5" name="Object 5" hidden="1">
            <a:extLst>
              <a:ext uri="{FF2B5EF4-FFF2-40B4-BE49-F238E27FC236}">
                <a16:creationId xmlns:a16="http://schemas.microsoft.com/office/drawing/2014/main" id="{34135689-B627-447A-B0EE-0699C3F056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5" name="Object 5" hidden="1">
                        <a:extLst>
                          <a:ext uri="{FF2B5EF4-FFF2-40B4-BE49-F238E27FC236}">
                            <a16:creationId xmlns:a16="http://schemas.microsoft.com/office/drawing/2014/main" id="{34135689-B627-447A-B0EE-0699C3F0562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1A207B7-E0FC-473C-A06E-30D7D9F6D73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solidFill>
                <a:schemeClr val="tx1"/>
              </a:solidFill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BE864C-8CA3-4325-7306-385B3165AE5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3725" y="6381751"/>
            <a:ext cx="7307263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227013" indent="-227013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defRPr/>
            </a:pPr>
            <a:fld id="{4BEC74A8-881B-4298-9240-BD8D6DC03A34}" type="slidenum">
              <a:rPr lang="en-US" altLang="en-US" sz="1000" smtClean="0"/>
              <a:pPr eaLnBrk="1" hangingPunct="1">
                <a:defRPr/>
              </a:pPr>
              <a:t>‹#›</a:t>
            </a:fld>
            <a:r>
              <a:rPr lang="en-US" altLang="en-US" sz="700" dirty="0"/>
              <a:t>	   © 2025 Synergy Consulting. Private and Confidential: For Limited Circulation Only.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96E72556-3192-8FA7-6808-436CE08359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38700" y="1970532"/>
            <a:ext cx="2514600" cy="291693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0D2CB2D-5A64-3766-7BC3-82066A2FEF17}"/>
              </a:ext>
            </a:extLst>
          </p:cNvPr>
          <p:cNvGrpSpPr/>
          <p:nvPr userDrawn="1"/>
        </p:nvGrpSpPr>
        <p:grpSpPr>
          <a:xfrm>
            <a:off x="10752571" y="6262160"/>
            <a:ext cx="1277503" cy="393167"/>
            <a:chOff x="4343836" y="6366536"/>
            <a:chExt cx="1096960" cy="31593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2BD9729-248D-82AA-FF40-098EF956151F}"/>
                </a:ext>
              </a:extLst>
            </p:cNvPr>
            <p:cNvGrpSpPr/>
            <p:nvPr userDrawn="1"/>
          </p:nvGrpSpPr>
          <p:grpSpPr>
            <a:xfrm>
              <a:off x="4343836" y="6366536"/>
              <a:ext cx="675862" cy="235834"/>
              <a:chOff x="-1312871" y="647298"/>
              <a:chExt cx="15115498" cy="5563402"/>
            </a:xfrm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AB67CB00-7D53-C713-C99D-02D07564CC70}"/>
                  </a:ext>
                </a:extLst>
              </p:cNvPr>
              <p:cNvSpPr/>
              <p:nvPr/>
            </p:nvSpPr>
            <p:spPr>
              <a:xfrm>
                <a:off x="4421793" y="647298"/>
                <a:ext cx="3749967" cy="5563400"/>
              </a:xfrm>
              <a:custGeom>
                <a:avLst/>
                <a:gdLst>
                  <a:gd name="connsiteX0" fmla="*/ 539014 w 2080480"/>
                  <a:gd name="connsiteY0" fmla="*/ 729114 h 2916457"/>
                  <a:gd name="connsiteX1" fmla="*/ 539014 w 2080480"/>
                  <a:gd name="connsiteY1" fmla="*/ 2187342 h 2916457"/>
                  <a:gd name="connsiteX2" fmla="*/ 702731 w 2080480"/>
                  <a:gd name="connsiteY2" fmla="*/ 2172529 h 2916457"/>
                  <a:gd name="connsiteX3" fmla="*/ 1351366 w 2080480"/>
                  <a:gd name="connsiteY3" fmla="*/ 1458228 h 2916457"/>
                  <a:gd name="connsiteX4" fmla="*/ 702731 w 2080480"/>
                  <a:gd name="connsiteY4" fmla="*/ 743927 h 2916457"/>
                  <a:gd name="connsiteX5" fmla="*/ 0 w 2080480"/>
                  <a:gd name="connsiteY5" fmla="*/ 0 h 2916457"/>
                  <a:gd name="connsiteX6" fmla="*/ 539014 w 2080480"/>
                  <a:gd name="connsiteY6" fmla="*/ 0 h 2916457"/>
                  <a:gd name="connsiteX7" fmla="*/ 539014 w 2080480"/>
                  <a:gd name="connsiteY7" fmla="*/ 1 h 2916457"/>
                  <a:gd name="connsiteX8" fmla="*/ 696620 w 2080480"/>
                  <a:gd name="connsiteY8" fmla="*/ 7529 h 2916457"/>
                  <a:gd name="connsiteX9" fmla="*/ 2080480 w 2080480"/>
                  <a:gd name="connsiteY9" fmla="*/ 1458229 h 2916457"/>
                  <a:gd name="connsiteX10" fmla="*/ 539014 w 2080480"/>
                  <a:gd name="connsiteY10" fmla="*/ 2916457 h 2916457"/>
                  <a:gd name="connsiteX11" fmla="*/ 539014 w 2080480"/>
                  <a:gd name="connsiteY11" fmla="*/ 2916455 h 2916457"/>
                  <a:gd name="connsiteX12" fmla="*/ 0 w 2080480"/>
                  <a:gd name="connsiteY12" fmla="*/ 2916455 h 2916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80480" h="2916457">
                    <a:moveTo>
                      <a:pt x="539014" y="729114"/>
                    </a:moveTo>
                    <a:lnTo>
                      <a:pt x="539014" y="2187342"/>
                    </a:lnTo>
                    <a:lnTo>
                      <a:pt x="702731" y="2172529"/>
                    </a:lnTo>
                    <a:cubicBezTo>
                      <a:pt x="1072906" y="2104542"/>
                      <a:pt x="1351366" y="1810572"/>
                      <a:pt x="1351366" y="1458228"/>
                    </a:cubicBezTo>
                    <a:cubicBezTo>
                      <a:pt x="1351366" y="1105884"/>
                      <a:pt x="1072906" y="811914"/>
                      <a:pt x="702731" y="743927"/>
                    </a:cubicBezTo>
                    <a:close/>
                    <a:moveTo>
                      <a:pt x="0" y="0"/>
                    </a:moveTo>
                    <a:lnTo>
                      <a:pt x="539014" y="0"/>
                    </a:lnTo>
                    <a:lnTo>
                      <a:pt x="539014" y="1"/>
                    </a:lnTo>
                    <a:lnTo>
                      <a:pt x="696620" y="7529"/>
                    </a:lnTo>
                    <a:cubicBezTo>
                      <a:pt x="1473913" y="82205"/>
                      <a:pt x="2080480" y="703206"/>
                      <a:pt x="2080480" y="1458229"/>
                    </a:cubicBezTo>
                    <a:cubicBezTo>
                      <a:pt x="2080480" y="2263586"/>
                      <a:pt x="1390342" y="2916457"/>
                      <a:pt x="539014" y="2916457"/>
                    </a:cubicBezTo>
                    <a:lnTo>
                      <a:pt x="539014" y="2916455"/>
                    </a:lnTo>
                    <a:lnTo>
                      <a:pt x="0" y="2916455"/>
                    </a:lnTo>
                    <a:close/>
                  </a:path>
                </a:pathLst>
              </a:custGeom>
              <a:gradFill>
                <a:gsLst>
                  <a:gs pos="40000">
                    <a:srgbClr val="FAB41F"/>
                  </a:gs>
                  <a:gs pos="48000">
                    <a:srgbClr val="F79115"/>
                  </a:gs>
                </a:gsLst>
                <a:lin ang="5400000" scaled="1"/>
              </a:gradFill>
              <a:ln>
                <a:solidFill>
                  <a:srgbClr val="F68A1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" name="Block Arc 12">
                <a:extLst>
                  <a:ext uri="{FF2B5EF4-FFF2-40B4-BE49-F238E27FC236}">
                    <a16:creationId xmlns:a16="http://schemas.microsoft.com/office/drawing/2014/main" id="{07200045-4AEB-2FF8-A6DE-5A70A7D90D40}"/>
                  </a:ext>
                </a:extLst>
              </p:cNvPr>
              <p:cNvSpPr/>
              <p:nvPr/>
            </p:nvSpPr>
            <p:spPr>
              <a:xfrm rot="16200000">
                <a:off x="8242509" y="650580"/>
                <a:ext cx="5563396" cy="5556840"/>
              </a:xfrm>
              <a:prstGeom prst="blockArc">
                <a:avLst>
                  <a:gd name="adj1" fmla="val 10800000"/>
                  <a:gd name="adj2" fmla="val 47466"/>
                  <a:gd name="adj3" fmla="val 23853"/>
                </a:avLst>
              </a:prstGeom>
              <a:gradFill flip="none" rotWithShape="1">
                <a:gsLst>
                  <a:gs pos="5000">
                    <a:srgbClr val="58BC66"/>
                  </a:gs>
                  <a:gs pos="94000">
                    <a:srgbClr val="0895A0"/>
                  </a:gs>
                </a:gsLst>
                <a:lin ang="540000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B5E6EFCD-AA9C-C61B-91FE-5034015CE329}"/>
                  </a:ext>
                </a:extLst>
              </p:cNvPr>
              <p:cNvSpPr/>
              <p:nvPr/>
            </p:nvSpPr>
            <p:spPr>
              <a:xfrm>
                <a:off x="2762449" y="647298"/>
                <a:ext cx="1370578" cy="5563402"/>
              </a:xfrm>
              <a:prstGeom prst="roundRect">
                <a:avLst>
                  <a:gd name="adj" fmla="val 0"/>
                </a:avLst>
              </a:prstGeom>
              <a:gradFill flip="none" rotWithShape="1">
                <a:gsLst>
                  <a:gs pos="83000">
                    <a:schemeClr val="accent6">
                      <a:lumMod val="95000"/>
                      <a:lumOff val="5000"/>
                    </a:schemeClr>
                  </a:gs>
                  <a:gs pos="94000">
                    <a:srgbClr val="00954D"/>
                  </a:gs>
                </a:gsLst>
                <a:lin ang="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8FCA8EDF-B714-397C-3940-29563C7700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-1312871" y="733306"/>
                <a:ext cx="4038307" cy="5473164"/>
              </a:xfrm>
              <a:prstGeom prst="rect">
                <a:avLst/>
              </a:prstGeom>
            </p:spPr>
          </p:pic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9CCA8D6-BF93-784A-1D12-002C23158ECF}"/>
                </a:ext>
              </a:extLst>
            </p:cNvPr>
            <p:cNvSpPr txBox="1"/>
            <p:nvPr userDrawn="1"/>
          </p:nvSpPr>
          <p:spPr>
            <a:xfrm>
              <a:off x="4343836" y="6595906"/>
              <a:ext cx="1096960" cy="865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00" b="1" dirty="0" err="1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InfraDev</a:t>
              </a:r>
              <a:r>
                <a:rPr lang="en-US" sz="700" b="1" dirty="0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 Consulting Private Limited</a:t>
              </a: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3A9621E9-0B83-0CF4-C433-6542A816336D}"/>
              </a:ext>
            </a:extLst>
          </p:cNvPr>
          <p:cNvSpPr/>
          <p:nvPr userDrawn="1"/>
        </p:nvSpPr>
        <p:spPr>
          <a:xfrm>
            <a:off x="0" y="6731001"/>
            <a:ext cx="12192000" cy="126999"/>
          </a:xfrm>
          <a:prstGeom prst="rect">
            <a:avLst/>
          </a:prstGeom>
          <a:solidFill>
            <a:srgbClr val="2FA8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6AE9F2-FD11-5FF1-C6B9-0C04B48C3F37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752571" y="5999006"/>
            <a:ext cx="1143093" cy="69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121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>
            <a:extLst>
              <a:ext uri="{FF2B5EF4-FFF2-40B4-BE49-F238E27FC236}">
                <a16:creationId xmlns:a16="http://schemas.microsoft.com/office/drawing/2014/main" id="{3FABD674-3050-467C-A502-0E902831CA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" name="Object 3" hidden="1">
                        <a:extLst>
                          <a:ext uri="{FF2B5EF4-FFF2-40B4-BE49-F238E27FC236}">
                            <a16:creationId xmlns:a16="http://schemas.microsoft.com/office/drawing/2014/main" id="{3FABD674-3050-467C-A502-0E902831CA4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63BDC8C-9CF0-45B9-B310-27E6C1810E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latin typeface="Libre Franklin" panose="00000500000000000000" pitchFamily="2" charset="0"/>
              <a:ea typeface="+mj-ea"/>
              <a:cs typeface="+mj-cs"/>
              <a:sym typeface="Libre Franklin" panose="00000500000000000000" pitchFamily="2" charset="0"/>
            </a:endParaRPr>
          </a:p>
        </p:txBody>
      </p:sp>
      <p:graphicFrame>
        <p:nvGraphicFramePr>
          <p:cNvPr id="5" name="Object 5" hidden="1">
            <a:extLst>
              <a:ext uri="{FF2B5EF4-FFF2-40B4-BE49-F238E27FC236}">
                <a16:creationId xmlns:a16="http://schemas.microsoft.com/office/drawing/2014/main" id="{1A61EC95-B665-4AE3-ADB6-1F249C5A70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5" name="Object 5" hidden="1">
                        <a:extLst>
                          <a:ext uri="{FF2B5EF4-FFF2-40B4-BE49-F238E27FC236}">
                            <a16:creationId xmlns:a16="http://schemas.microsoft.com/office/drawing/2014/main" id="{1A61EC95-B665-4AE3-ADB6-1F249C5A706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FB6B57B-F677-4B4F-9D6C-1692B7E5465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solidFill>
                <a:schemeClr val="tx1"/>
              </a:solidFill>
              <a:latin typeface="Libre Franklin Medium" panose="00000600000000000000" charset="0"/>
              <a:ea typeface="+mj-ea"/>
              <a:cs typeface="+mj-cs"/>
              <a:sym typeface="Libre Franklin Medium" panose="00000600000000000000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B5A40E-1392-4803-9B23-C05A471BE6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3725" y="6381751"/>
            <a:ext cx="7307263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227013" indent="-227013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defRPr/>
            </a:pPr>
            <a:fld id="{4BEC74A8-881B-4298-9240-BD8D6DC03A34}" type="slidenum">
              <a:rPr lang="en-US" altLang="en-US" sz="1000" smtClean="0"/>
              <a:pPr eaLnBrk="1" hangingPunct="1">
                <a:defRPr/>
              </a:pPr>
              <a:t>‹#›</a:t>
            </a:fld>
            <a:r>
              <a:rPr lang="en-US" altLang="en-US" sz="700" dirty="0"/>
              <a:t>	   © 2025 Synergy Consulting. Private and Confidential: For Limited Circulation Only.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33CC5AF1-8D6D-DEFE-4E71-AE410B28D6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38700" y="1970532"/>
            <a:ext cx="2514600" cy="291693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4F1FDCB-3345-DFCE-F6F0-633A957134DF}"/>
              </a:ext>
            </a:extLst>
          </p:cNvPr>
          <p:cNvGrpSpPr/>
          <p:nvPr userDrawn="1"/>
        </p:nvGrpSpPr>
        <p:grpSpPr>
          <a:xfrm>
            <a:off x="10752571" y="6262160"/>
            <a:ext cx="1277503" cy="393167"/>
            <a:chOff x="4343836" y="6366536"/>
            <a:chExt cx="1096960" cy="31593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E911080-862F-C7DD-307A-868D985DC428}"/>
                </a:ext>
              </a:extLst>
            </p:cNvPr>
            <p:cNvGrpSpPr/>
            <p:nvPr userDrawn="1"/>
          </p:nvGrpSpPr>
          <p:grpSpPr>
            <a:xfrm>
              <a:off x="4343836" y="6366536"/>
              <a:ext cx="675862" cy="235834"/>
              <a:chOff x="-1312871" y="647298"/>
              <a:chExt cx="15115498" cy="5563402"/>
            </a:xfrm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90F3D0BD-5143-2943-DDF0-B2D11029DA68}"/>
                  </a:ext>
                </a:extLst>
              </p:cNvPr>
              <p:cNvSpPr/>
              <p:nvPr/>
            </p:nvSpPr>
            <p:spPr>
              <a:xfrm>
                <a:off x="4421793" y="647298"/>
                <a:ext cx="3749967" cy="5563400"/>
              </a:xfrm>
              <a:custGeom>
                <a:avLst/>
                <a:gdLst>
                  <a:gd name="connsiteX0" fmla="*/ 539014 w 2080480"/>
                  <a:gd name="connsiteY0" fmla="*/ 729114 h 2916457"/>
                  <a:gd name="connsiteX1" fmla="*/ 539014 w 2080480"/>
                  <a:gd name="connsiteY1" fmla="*/ 2187342 h 2916457"/>
                  <a:gd name="connsiteX2" fmla="*/ 702731 w 2080480"/>
                  <a:gd name="connsiteY2" fmla="*/ 2172529 h 2916457"/>
                  <a:gd name="connsiteX3" fmla="*/ 1351366 w 2080480"/>
                  <a:gd name="connsiteY3" fmla="*/ 1458228 h 2916457"/>
                  <a:gd name="connsiteX4" fmla="*/ 702731 w 2080480"/>
                  <a:gd name="connsiteY4" fmla="*/ 743927 h 2916457"/>
                  <a:gd name="connsiteX5" fmla="*/ 0 w 2080480"/>
                  <a:gd name="connsiteY5" fmla="*/ 0 h 2916457"/>
                  <a:gd name="connsiteX6" fmla="*/ 539014 w 2080480"/>
                  <a:gd name="connsiteY6" fmla="*/ 0 h 2916457"/>
                  <a:gd name="connsiteX7" fmla="*/ 539014 w 2080480"/>
                  <a:gd name="connsiteY7" fmla="*/ 1 h 2916457"/>
                  <a:gd name="connsiteX8" fmla="*/ 696620 w 2080480"/>
                  <a:gd name="connsiteY8" fmla="*/ 7529 h 2916457"/>
                  <a:gd name="connsiteX9" fmla="*/ 2080480 w 2080480"/>
                  <a:gd name="connsiteY9" fmla="*/ 1458229 h 2916457"/>
                  <a:gd name="connsiteX10" fmla="*/ 539014 w 2080480"/>
                  <a:gd name="connsiteY10" fmla="*/ 2916457 h 2916457"/>
                  <a:gd name="connsiteX11" fmla="*/ 539014 w 2080480"/>
                  <a:gd name="connsiteY11" fmla="*/ 2916455 h 2916457"/>
                  <a:gd name="connsiteX12" fmla="*/ 0 w 2080480"/>
                  <a:gd name="connsiteY12" fmla="*/ 2916455 h 2916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80480" h="2916457">
                    <a:moveTo>
                      <a:pt x="539014" y="729114"/>
                    </a:moveTo>
                    <a:lnTo>
                      <a:pt x="539014" y="2187342"/>
                    </a:lnTo>
                    <a:lnTo>
                      <a:pt x="702731" y="2172529"/>
                    </a:lnTo>
                    <a:cubicBezTo>
                      <a:pt x="1072906" y="2104542"/>
                      <a:pt x="1351366" y="1810572"/>
                      <a:pt x="1351366" y="1458228"/>
                    </a:cubicBezTo>
                    <a:cubicBezTo>
                      <a:pt x="1351366" y="1105884"/>
                      <a:pt x="1072906" y="811914"/>
                      <a:pt x="702731" y="743927"/>
                    </a:cubicBezTo>
                    <a:close/>
                    <a:moveTo>
                      <a:pt x="0" y="0"/>
                    </a:moveTo>
                    <a:lnTo>
                      <a:pt x="539014" y="0"/>
                    </a:lnTo>
                    <a:lnTo>
                      <a:pt x="539014" y="1"/>
                    </a:lnTo>
                    <a:lnTo>
                      <a:pt x="696620" y="7529"/>
                    </a:lnTo>
                    <a:cubicBezTo>
                      <a:pt x="1473913" y="82205"/>
                      <a:pt x="2080480" y="703206"/>
                      <a:pt x="2080480" y="1458229"/>
                    </a:cubicBezTo>
                    <a:cubicBezTo>
                      <a:pt x="2080480" y="2263586"/>
                      <a:pt x="1390342" y="2916457"/>
                      <a:pt x="539014" y="2916457"/>
                    </a:cubicBezTo>
                    <a:lnTo>
                      <a:pt x="539014" y="2916455"/>
                    </a:lnTo>
                    <a:lnTo>
                      <a:pt x="0" y="2916455"/>
                    </a:lnTo>
                    <a:close/>
                  </a:path>
                </a:pathLst>
              </a:custGeom>
              <a:gradFill>
                <a:gsLst>
                  <a:gs pos="40000">
                    <a:srgbClr val="FAB41F"/>
                  </a:gs>
                  <a:gs pos="48000">
                    <a:srgbClr val="F79115"/>
                  </a:gs>
                </a:gsLst>
                <a:lin ang="5400000" scaled="1"/>
              </a:gradFill>
              <a:ln>
                <a:solidFill>
                  <a:srgbClr val="F68A1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" name="Block Arc 12">
                <a:extLst>
                  <a:ext uri="{FF2B5EF4-FFF2-40B4-BE49-F238E27FC236}">
                    <a16:creationId xmlns:a16="http://schemas.microsoft.com/office/drawing/2014/main" id="{8B04E187-F6C6-3188-098B-0CA40DCECA3E}"/>
                  </a:ext>
                </a:extLst>
              </p:cNvPr>
              <p:cNvSpPr/>
              <p:nvPr/>
            </p:nvSpPr>
            <p:spPr>
              <a:xfrm rot="16200000">
                <a:off x="8242509" y="650580"/>
                <a:ext cx="5563396" cy="5556840"/>
              </a:xfrm>
              <a:prstGeom prst="blockArc">
                <a:avLst>
                  <a:gd name="adj1" fmla="val 10800000"/>
                  <a:gd name="adj2" fmla="val 47466"/>
                  <a:gd name="adj3" fmla="val 23853"/>
                </a:avLst>
              </a:prstGeom>
              <a:gradFill flip="none" rotWithShape="1">
                <a:gsLst>
                  <a:gs pos="5000">
                    <a:srgbClr val="58BC66"/>
                  </a:gs>
                  <a:gs pos="94000">
                    <a:srgbClr val="0895A0"/>
                  </a:gs>
                </a:gsLst>
                <a:lin ang="540000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EFA6F3EC-A594-5788-B917-CADE5704B44A}"/>
                  </a:ext>
                </a:extLst>
              </p:cNvPr>
              <p:cNvSpPr/>
              <p:nvPr/>
            </p:nvSpPr>
            <p:spPr>
              <a:xfrm>
                <a:off x="2762449" y="647298"/>
                <a:ext cx="1370578" cy="5563402"/>
              </a:xfrm>
              <a:prstGeom prst="roundRect">
                <a:avLst>
                  <a:gd name="adj" fmla="val 0"/>
                </a:avLst>
              </a:prstGeom>
              <a:gradFill flip="none" rotWithShape="1">
                <a:gsLst>
                  <a:gs pos="83000">
                    <a:schemeClr val="accent6">
                      <a:lumMod val="95000"/>
                      <a:lumOff val="5000"/>
                    </a:schemeClr>
                  </a:gs>
                  <a:gs pos="94000">
                    <a:srgbClr val="00954D"/>
                  </a:gs>
                </a:gsLst>
                <a:lin ang="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DF7B6A68-3F8D-97C4-CECE-0EC4980A5E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-1312871" y="733306"/>
                <a:ext cx="4038307" cy="5473164"/>
              </a:xfrm>
              <a:prstGeom prst="rect">
                <a:avLst/>
              </a:prstGeom>
            </p:spPr>
          </p:pic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3B5EF33-4F7E-69A3-5178-F0261E1FB41F}"/>
                </a:ext>
              </a:extLst>
            </p:cNvPr>
            <p:cNvSpPr txBox="1"/>
            <p:nvPr userDrawn="1"/>
          </p:nvSpPr>
          <p:spPr>
            <a:xfrm>
              <a:off x="4343836" y="6595906"/>
              <a:ext cx="1096960" cy="865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00" b="1" dirty="0" err="1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InfraDev</a:t>
              </a:r>
              <a:r>
                <a:rPr lang="en-US" sz="700" b="1" dirty="0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 Consulting Private Limited</a:t>
              </a: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CF2557FE-A53E-2D31-37C7-306DE23B5CE9}"/>
              </a:ext>
            </a:extLst>
          </p:cNvPr>
          <p:cNvSpPr/>
          <p:nvPr userDrawn="1"/>
        </p:nvSpPr>
        <p:spPr>
          <a:xfrm>
            <a:off x="0" y="6731001"/>
            <a:ext cx="12192000" cy="126999"/>
          </a:xfrm>
          <a:prstGeom prst="rect">
            <a:avLst/>
          </a:prstGeom>
          <a:solidFill>
            <a:srgbClr val="2FA8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6BC3B15-A011-CE68-245E-F21095AFAB77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752571" y="5999006"/>
            <a:ext cx="1143093" cy="69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861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About Syner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738E7B6B-70A4-4475-8437-02F1B2E07F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6473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738E7B6B-70A4-4475-8437-02F1B2E07F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1C5F369-6D71-4FB5-8741-DB603EEA1B8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latin typeface="Libre Franklin" panose="00000500000000000000" pitchFamily="2" charset="0"/>
              <a:ea typeface="+mj-ea"/>
              <a:cs typeface="+mj-cs"/>
              <a:sym typeface="Libre Franklin" panose="00000500000000000000" pitchFamily="2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8AA33DC-DE6E-4086-AF13-2B658E87E3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solidFill>
                <a:schemeClr val="tx1"/>
              </a:solidFill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42D0E9-2715-49F1-938C-BB1F6D64DE6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3725" y="6381751"/>
            <a:ext cx="7307263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227013" indent="-227013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defRPr/>
            </a:pPr>
            <a:fld id="{4BEC74A8-881B-4298-9240-BD8D6DC03A34}" type="slidenum">
              <a:rPr lang="en-US" altLang="en-US" sz="1000" smtClean="0"/>
              <a:pPr eaLnBrk="1" hangingPunct="1">
                <a:defRPr/>
              </a:pPr>
              <a:t>‹#›</a:t>
            </a:fld>
            <a:r>
              <a:rPr lang="en-US" altLang="en-US" sz="700" dirty="0"/>
              <a:t>	   © 2023 Synergy Consulting. Private and Confidential: For Limited Circulation Only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54C256B-320D-400F-A9CB-5E8A1D2E85B8}"/>
              </a:ext>
            </a:extLst>
          </p:cNvPr>
          <p:cNvCxnSpPr>
            <a:cxnSpLocks/>
          </p:cNvCxnSpPr>
          <p:nvPr userDrawn="1"/>
        </p:nvCxnSpPr>
        <p:spPr>
          <a:xfrm>
            <a:off x="0" y="1081148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Placeholder 12"/>
          <p:cNvSpPr>
            <a:spLocks noGrp="1"/>
          </p:cNvSpPr>
          <p:nvPr>
            <p:ph type="title"/>
          </p:nvPr>
        </p:nvSpPr>
        <p:spPr>
          <a:xfrm>
            <a:off x="593724" y="603250"/>
            <a:ext cx="10881360" cy="468821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4EF4270-5AC0-F1DF-3D7A-BF4C8739F6BE}"/>
              </a:ext>
            </a:extLst>
          </p:cNvPr>
          <p:cNvGrpSpPr/>
          <p:nvPr userDrawn="1"/>
        </p:nvGrpSpPr>
        <p:grpSpPr>
          <a:xfrm>
            <a:off x="10752571" y="6262160"/>
            <a:ext cx="1277503" cy="393167"/>
            <a:chOff x="4343836" y="6366536"/>
            <a:chExt cx="1096960" cy="31593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6DAFE745-1956-0D14-1D22-2CABC1C50EB6}"/>
                </a:ext>
              </a:extLst>
            </p:cNvPr>
            <p:cNvGrpSpPr/>
            <p:nvPr userDrawn="1"/>
          </p:nvGrpSpPr>
          <p:grpSpPr>
            <a:xfrm>
              <a:off x="4343836" y="6366536"/>
              <a:ext cx="675862" cy="235834"/>
              <a:chOff x="-1312871" y="647298"/>
              <a:chExt cx="15115498" cy="5563402"/>
            </a:xfrm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F52E5A2D-90D9-21C0-2B36-F7F8A83784C6}"/>
                  </a:ext>
                </a:extLst>
              </p:cNvPr>
              <p:cNvSpPr/>
              <p:nvPr/>
            </p:nvSpPr>
            <p:spPr>
              <a:xfrm>
                <a:off x="4421793" y="647298"/>
                <a:ext cx="3749967" cy="5563400"/>
              </a:xfrm>
              <a:custGeom>
                <a:avLst/>
                <a:gdLst>
                  <a:gd name="connsiteX0" fmla="*/ 539014 w 2080480"/>
                  <a:gd name="connsiteY0" fmla="*/ 729114 h 2916457"/>
                  <a:gd name="connsiteX1" fmla="*/ 539014 w 2080480"/>
                  <a:gd name="connsiteY1" fmla="*/ 2187342 h 2916457"/>
                  <a:gd name="connsiteX2" fmla="*/ 702731 w 2080480"/>
                  <a:gd name="connsiteY2" fmla="*/ 2172529 h 2916457"/>
                  <a:gd name="connsiteX3" fmla="*/ 1351366 w 2080480"/>
                  <a:gd name="connsiteY3" fmla="*/ 1458228 h 2916457"/>
                  <a:gd name="connsiteX4" fmla="*/ 702731 w 2080480"/>
                  <a:gd name="connsiteY4" fmla="*/ 743927 h 2916457"/>
                  <a:gd name="connsiteX5" fmla="*/ 0 w 2080480"/>
                  <a:gd name="connsiteY5" fmla="*/ 0 h 2916457"/>
                  <a:gd name="connsiteX6" fmla="*/ 539014 w 2080480"/>
                  <a:gd name="connsiteY6" fmla="*/ 0 h 2916457"/>
                  <a:gd name="connsiteX7" fmla="*/ 539014 w 2080480"/>
                  <a:gd name="connsiteY7" fmla="*/ 1 h 2916457"/>
                  <a:gd name="connsiteX8" fmla="*/ 696620 w 2080480"/>
                  <a:gd name="connsiteY8" fmla="*/ 7529 h 2916457"/>
                  <a:gd name="connsiteX9" fmla="*/ 2080480 w 2080480"/>
                  <a:gd name="connsiteY9" fmla="*/ 1458229 h 2916457"/>
                  <a:gd name="connsiteX10" fmla="*/ 539014 w 2080480"/>
                  <a:gd name="connsiteY10" fmla="*/ 2916457 h 2916457"/>
                  <a:gd name="connsiteX11" fmla="*/ 539014 w 2080480"/>
                  <a:gd name="connsiteY11" fmla="*/ 2916455 h 2916457"/>
                  <a:gd name="connsiteX12" fmla="*/ 0 w 2080480"/>
                  <a:gd name="connsiteY12" fmla="*/ 2916455 h 2916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80480" h="2916457">
                    <a:moveTo>
                      <a:pt x="539014" y="729114"/>
                    </a:moveTo>
                    <a:lnTo>
                      <a:pt x="539014" y="2187342"/>
                    </a:lnTo>
                    <a:lnTo>
                      <a:pt x="702731" y="2172529"/>
                    </a:lnTo>
                    <a:cubicBezTo>
                      <a:pt x="1072906" y="2104542"/>
                      <a:pt x="1351366" y="1810572"/>
                      <a:pt x="1351366" y="1458228"/>
                    </a:cubicBezTo>
                    <a:cubicBezTo>
                      <a:pt x="1351366" y="1105884"/>
                      <a:pt x="1072906" y="811914"/>
                      <a:pt x="702731" y="743927"/>
                    </a:cubicBezTo>
                    <a:close/>
                    <a:moveTo>
                      <a:pt x="0" y="0"/>
                    </a:moveTo>
                    <a:lnTo>
                      <a:pt x="539014" y="0"/>
                    </a:lnTo>
                    <a:lnTo>
                      <a:pt x="539014" y="1"/>
                    </a:lnTo>
                    <a:lnTo>
                      <a:pt x="696620" y="7529"/>
                    </a:lnTo>
                    <a:cubicBezTo>
                      <a:pt x="1473913" y="82205"/>
                      <a:pt x="2080480" y="703206"/>
                      <a:pt x="2080480" y="1458229"/>
                    </a:cubicBezTo>
                    <a:cubicBezTo>
                      <a:pt x="2080480" y="2263586"/>
                      <a:pt x="1390342" y="2916457"/>
                      <a:pt x="539014" y="2916457"/>
                    </a:cubicBezTo>
                    <a:lnTo>
                      <a:pt x="539014" y="2916455"/>
                    </a:lnTo>
                    <a:lnTo>
                      <a:pt x="0" y="2916455"/>
                    </a:lnTo>
                    <a:close/>
                  </a:path>
                </a:pathLst>
              </a:custGeom>
              <a:gradFill>
                <a:gsLst>
                  <a:gs pos="40000">
                    <a:srgbClr val="FAB41F"/>
                  </a:gs>
                  <a:gs pos="48000">
                    <a:srgbClr val="F79115"/>
                  </a:gs>
                </a:gsLst>
                <a:lin ang="5400000" scaled="1"/>
              </a:gradFill>
              <a:ln>
                <a:solidFill>
                  <a:srgbClr val="F68A1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" name="Block Arc 12">
                <a:extLst>
                  <a:ext uri="{FF2B5EF4-FFF2-40B4-BE49-F238E27FC236}">
                    <a16:creationId xmlns:a16="http://schemas.microsoft.com/office/drawing/2014/main" id="{3BC857F3-4D59-E226-86AE-609A4E7C81C3}"/>
                  </a:ext>
                </a:extLst>
              </p:cNvPr>
              <p:cNvSpPr/>
              <p:nvPr/>
            </p:nvSpPr>
            <p:spPr>
              <a:xfrm rot="16200000">
                <a:off x="8242509" y="650580"/>
                <a:ext cx="5563396" cy="5556840"/>
              </a:xfrm>
              <a:prstGeom prst="blockArc">
                <a:avLst>
                  <a:gd name="adj1" fmla="val 10800000"/>
                  <a:gd name="adj2" fmla="val 47466"/>
                  <a:gd name="adj3" fmla="val 23853"/>
                </a:avLst>
              </a:prstGeom>
              <a:gradFill flip="none" rotWithShape="1">
                <a:gsLst>
                  <a:gs pos="5000">
                    <a:srgbClr val="58BC66"/>
                  </a:gs>
                  <a:gs pos="94000">
                    <a:srgbClr val="0895A0"/>
                  </a:gs>
                </a:gsLst>
                <a:lin ang="540000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379A7FD7-E35A-9DA3-5B15-2099B54EB5AB}"/>
                  </a:ext>
                </a:extLst>
              </p:cNvPr>
              <p:cNvSpPr/>
              <p:nvPr/>
            </p:nvSpPr>
            <p:spPr>
              <a:xfrm>
                <a:off x="2762449" y="647298"/>
                <a:ext cx="1370578" cy="5563402"/>
              </a:xfrm>
              <a:prstGeom prst="roundRect">
                <a:avLst>
                  <a:gd name="adj" fmla="val 0"/>
                </a:avLst>
              </a:prstGeom>
              <a:gradFill flip="none" rotWithShape="1">
                <a:gsLst>
                  <a:gs pos="83000">
                    <a:schemeClr val="accent6">
                      <a:lumMod val="95000"/>
                      <a:lumOff val="5000"/>
                    </a:schemeClr>
                  </a:gs>
                  <a:gs pos="94000">
                    <a:srgbClr val="00954D"/>
                  </a:gs>
                </a:gsLst>
                <a:lin ang="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C5C8CF6D-98FD-91BF-A76D-01ABBA81B4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-1312871" y="733306"/>
                <a:ext cx="4038307" cy="5473164"/>
              </a:xfrm>
              <a:prstGeom prst="rect">
                <a:avLst/>
              </a:prstGeom>
            </p:spPr>
          </p:pic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1878004-1A23-9CCC-BCA9-2907EFE9D48C}"/>
                </a:ext>
              </a:extLst>
            </p:cNvPr>
            <p:cNvSpPr txBox="1"/>
            <p:nvPr userDrawn="1"/>
          </p:nvSpPr>
          <p:spPr>
            <a:xfrm>
              <a:off x="4343836" y="6595906"/>
              <a:ext cx="1096960" cy="865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00" b="1" dirty="0" err="1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InfraDev</a:t>
              </a:r>
              <a:r>
                <a:rPr lang="en-US" sz="700" b="1" dirty="0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 Consulting Private Limited</a:t>
              </a: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FCC0B6C1-F9B6-8DAB-0B55-EF582B723FB1}"/>
              </a:ext>
            </a:extLst>
          </p:cNvPr>
          <p:cNvSpPr/>
          <p:nvPr userDrawn="1"/>
        </p:nvSpPr>
        <p:spPr>
          <a:xfrm>
            <a:off x="0" y="6731001"/>
            <a:ext cx="12192000" cy="126999"/>
          </a:xfrm>
          <a:prstGeom prst="rect">
            <a:avLst/>
          </a:prstGeom>
          <a:solidFill>
            <a:srgbClr val="2FA8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853ED10-A080-2A40-8361-CAEE4288A03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752571" y="5999006"/>
            <a:ext cx="1143093" cy="69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645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About Syner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>
            <a:extLst>
              <a:ext uri="{FF2B5EF4-FFF2-40B4-BE49-F238E27FC236}">
                <a16:creationId xmlns:a16="http://schemas.microsoft.com/office/drawing/2014/main" id="{CD7AFF64-3114-44BC-9C38-8FD064911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" name="Object 3" hidden="1">
                        <a:extLst>
                          <a:ext uri="{FF2B5EF4-FFF2-40B4-BE49-F238E27FC236}">
                            <a16:creationId xmlns:a16="http://schemas.microsoft.com/office/drawing/2014/main" id="{CD7AFF64-3114-44BC-9C38-8FD0649117A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997B8F2-3CD0-4065-B959-96083DE54A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latin typeface="Libre Franklin" panose="00000500000000000000" pitchFamily="2" charset="0"/>
              <a:ea typeface="+mj-ea"/>
              <a:cs typeface="+mj-cs"/>
              <a:sym typeface="Libre Franklin" panose="00000500000000000000" pitchFamily="2" charset="0"/>
            </a:endParaRPr>
          </a:p>
        </p:txBody>
      </p:sp>
      <p:graphicFrame>
        <p:nvGraphicFramePr>
          <p:cNvPr id="5" name="Object 5" hidden="1">
            <a:extLst>
              <a:ext uri="{FF2B5EF4-FFF2-40B4-BE49-F238E27FC236}">
                <a16:creationId xmlns:a16="http://schemas.microsoft.com/office/drawing/2014/main" id="{34135689-B627-447A-B0EE-0699C3F056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5" name="Object 5" hidden="1">
                        <a:extLst>
                          <a:ext uri="{FF2B5EF4-FFF2-40B4-BE49-F238E27FC236}">
                            <a16:creationId xmlns:a16="http://schemas.microsoft.com/office/drawing/2014/main" id="{34135689-B627-447A-B0EE-0699C3F0562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1A207B7-E0FC-473C-A06E-30D7D9F6D73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solidFill>
                <a:schemeClr val="tx1"/>
              </a:solidFill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BE864C-8CA3-4325-7306-385B3165AE5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3725" y="6381751"/>
            <a:ext cx="7307263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227013" indent="-227013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defRPr/>
            </a:pPr>
            <a:fld id="{4BEC74A8-881B-4298-9240-BD8D6DC03A34}" type="slidenum">
              <a:rPr lang="en-US" altLang="en-US" sz="1000" smtClean="0"/>
              <a:pPr eaLnBrk="1" hangingPunct="1">
                <a:defRPr/>
              </a:pPr>
              <a:t>‹#›</a:t>
            </a:fld>
            <a:r>
              <a:rPr lang="en-US" altLang="en-US" sz="700" dirty="0"/>
              <a:t>	   © 2025 Synergy Consulting. Private and Confidential: For Limited Circulation Only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37B0D77-5EA2-6FEE-DF29-0429924EB7F6}"/>
              </a:ext>
            </a:extLst>
          </p:cNvPr>
          <p:cNvGrpSpPr/>
          <p:nvPr userDrawn="1"/>
        </p:nvGrpSpPr>
        <p:grpSpPr>
          <a:xfrm>
            <a:off x="10752571" y="6262160"/>
            <a:ext cx="1277503" cy="393167"/>
            <a:chOff x="4343836" y="6366536"/>
            <a:chExt cx="1096960" cy="31593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F0BA12B-3C7B-FEF5-38BC-CF628872A41E}"/>
                </a:ext>
              </a:extLst>
            </p:cNvPr>
            <p:cNvGrpSpPr/>
            <p:nvPr userDrawn="1"/>
          </p:nvGrpSpPr>
          <p:grpSpPr>
            <a:xfrm>
              <a:off x="4343836" y="6366536"/>
              <a:ext cx="675862" cy="235834"/>
              <a:chOff x="-1312871" y="647298"/>
              <a:chExt cx="15115498" cy="5563402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5A01A3CB-A84F-8FD7-539D-E36A19476ED7}"/>
                  </a:ext>
                </a:extLst>
              </p:cNvPr>
              <p:cNvSpPr/>
              <p:nvPr/>
            </p:nvSpPr>
            <p:spPr>
              <a:xfrm>
                <a:off x="4421793" y="647298"/>
                <a:ext cx="3749967" cy="5563400"/>
              </a:xfrm>
              <a:custGeom>
                <a:avLst/>
                <a:gdLst>
                  <a:gd name="connsiteX0" fmla="*/ 539014 w 2080480"/>
                  <a:gd name="connsiteY0" fmla="*/ 729114 h 2916457"/>
                  <a:gd name="connsiteX1" fmla="*/ 539014 w 2080480"/>
                  <a:gd name="connsiteY1" fmla="*/ 2187342 h 2916457"/>
                  <a:gd name="connsiteX2" fmla="*/ 702731 w 2080480"/>
                  <a:gd name="connsiteY2" fmla="*/ 2172529 h 2916457"/>
                  <a:gd name="connsiteX3" fmla="*/ 1351366 w 2080480"/>
                  <a:gd name="connsiteY3" fmla="*/ 1458228 h 2916457"/>
                  <a:gd name="connsiteX4" fmla="*/ 702731 w 2080480"/>
                  <a:gd name="connsiteY4" fmla="*/ 743927 h 2916457"/>
                  <a:gd name="connsiteX5" fmla="*/ 0 w 2080480"/>
                  <a:gd name="connsiteY5" fmla="*/ 0 h 2916457"/>
                  <a:gd name="connsiteX6" fmla="*/ 539014 w 2080480"/>
                  <a:gd name="connsiteY6" fmla="*/ 0 h 2916457"/>
                  <a:gd name="connsiteX7" fmla="*/ 539014 w 2080480"/>
                  <a:gd name="connsiteY7" fmla="*/ 1 h 2916457"/>
                  <a:gd name="connsiteX8" fmla="*/ 696620 w 2080480"/>
                  <a:gd name="connsiteY8" fmla="*/ 7529 h 2916457"/>
                  <a:gd name="connsiteX9" fmla="*/ 2080480 w 2080480"/>
                  <a:gd name="connsiteY9" fmla="*/ 1458229 h 2916457"/>
                  <a:gd name="connsiteX10" fmla="*/ 539014 w 2080480"/>
                  <a:gd name="connsiteY10" fmla="*/ 2916457 h 2916457"/>
                  <a:gd name="connsiteX11" fmla="*/ 539014 w 2080480"/>
                  <a:gd name="connsiteY11" fmla="*/ 2916455 h 2916457"/>
                  <a:gd name="connsiteX12" fmla="*/ 0 w 2080480"/>
                  <a:gd name="connsiteY12" fmla="*/ 2916455 h 2916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80480" h="2916457">
                    <a:moveTo>
                      <a:pt x="539014" y="729114"/>
                    </a:moveTo>
                    <a:lnTo>
                      <a:pt x="539014" y="2187342"/>
                    </a:lnTo>
                    <a:lnTo>
                      <a:pt x="702731" y="2172529"/>
                    </a:lnTo>
                    <a:cubicBezTo>
                      <a:pt x="1072906" y="2104542"/>
                      <a:pt x="1351366" y="1810572"/>
                      <a:pt x="1351366" y="1458228"/>
                    </a:cubicBezTo>
                    <a:cubicBezTo>
                      <a:pt x="1351366" y="1105884"/>
                      <a:pt x="1072906" y="811914"/>
                      <a:pt x="702731" y="743927"/>
                    </a:cubicBezTo>
                    <a:close/>
                    <a:moveTo>
                      <a:pt x="0" y="0"/>
                    </a:moveTo>
                    <a:lnTo>
                      <a:pt x="539014" y="0"/>
                    </a:lnTo>
                    <a:lnTo>
                      <a:pt x="539014" y="1"/>
                    </a:lnTo>
                    <a:lnTo>
                      <a:pt x="696620" y="7529"/>
                    </a:lnTo>
                    <a:cubicBezTo>
                      <a:pt x="1473913" y="82205"/>
                      <a:pt x="2080480" y="703206"/>
                      <a:pt x="2080480" y="1458229"/>
                    </a:cubicBezTo>
                    <a:cubicBezTo>
                      <a:pt x="2080480" y="2263586"/>
                      <a:pt x="1390342" y="2916457"/>
                      <a:pt x="539014" y="2916457"/>
                    </a:cubicBezTo>
                    <a:lnTo>
                      <a:pt x="539014" y="2916455"/>
                    </a:lnTo>
                    <a:lnTo>
                      <a:pt x="0" y="2916455"/>
                    </a:lnTo>
                    <a:close/>
                  </a:path>
                </a:pathLst>
              </a:custGeom>
              <a:gradFill>
                <a:gsLst>
                  <a:gs pos="40000">
                    <a:srgbClr val="FAB41F"/>
                  </a:gs>
                  <a:gs pos="48000">
                    <a:srgbClr val="F79115"/>
                  </a:gs>
                </a:gsLst>
                <a:lin ang="5400000" scaled="1"/>
              </a:gradFill>
              <a:ln>
                <a:solidFill>
                  <a:srgbClr val="F68A1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2" name="Block Arc 11">
                <a:extLst>
                  <a:ext uri="{FF2B5EF4-FFF2-40B4-BE49-F238E27FC236}">
                    <a16:creationId xmlns:a16="http://schemas.microsoft.com/office/drawing/2014/main" id="{6949F7FC-34FC-E9AD-F464-1EDCD50FCEFC}"/>
                  </a:ext>
                </a:extLst>
              </p:cNvPr>
              <p:cNvSpPr/>
              <p:nvPr/>
            </p:nvSpPr>
            <p:spPr>
              <a:xfrm rot="16200000">
                <a:off x="8242509" y="650580"/>
                <a:ext cx="5563396" cy="5556840"/>
              </a:xfrm>
              <a:prstGeom prst="blockArc">
                <a:avLst>
                  <a:gd name="adj1" fmla="val 10800000"/>
                  <a:gd name="adj2" fmla="val 47466"/>
                  <a:gd name="adj3" fmla="val 23853"/>
                </a:avLst>
              </a:prstGeom>
              <a:gradFill flip="none" rotWithShape="1">
                <a:gsLst>
                  <a:gs pos="5000">
                    <a:srgbClr val="58BC66"/>
                  </a:gs>
                  <a:gs pos="94000">
                    <a:srgbClr val="0895A0"/>
                  </a:gs>
                </a:gsLst>
                <a:lin ang="540000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id="{0809F525-FBE2-0143-CCAC-A6E95781B029}"/>
                  </a:ext>
                </a:extLst>
              </p:cNvPr>
              <p:cNvSpPr/>
              <p:nvPr/>
            </p:nvSpPr>
            <p:spPr>
              <a:xfrm>
                <a:off x="2762449" y="647298"/>
                <a:ext cx="1370578" cy="5563402"/>
              </a:xfrm>
              <a:prstGeom prst="roundRect">
                <a:avLst>
                  <a:gd name="adj" fmla="val 0"/>
                </a:avLst>
              </a:prstGeom>
              <a:gradFill flip="none" rotWithShape="1">
                <a:gsLst>
                  <a:gs pos="83000">
                    <a:schemeClr val="accent6">
                      <a:lumMod val="95000"/>
                      <a:lumOff val="5000"/>
                    </a:schemeClr>
                  </a:gs>
                  <a:gs pos="94000">
                    <a:srgbClr val="00954D"/>
                  </a:gs>
                </a:gsLst>
                <a:lin ang="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CE910928-6455-5D0E-AEDF-93A76D09DC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-1312871" y="733306"/>
                <a:ext cx="4038307" cy="5473164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5DA80DB-D57C-0B99-CFCB-0E49C3A76914}"/>
                </a:ext>
              </a:extLst>
            </p:cNvPr>
            <p:cNvSpPr txBox="1"/>
            <p:nvPr userDrawn="1"/>
          </p:nvSpPr>
          <p:spPr>
            <a:xfrm>
              <a:off x="4343836" y="6595906"/>
              <a:ext cx="1096960" cy="865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00" b="1" dirty="0" err="1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InfraDev</a:t>
              </a:r>
              <a:r>
                <a:rPr lang="en-US" sz="700" b="1" dirty="0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 Consulting Private Limited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11ED339F-8181-480E-05A2-90FCD300FD00}"/>
              </a:ext>
            </a:extLst>
          </p:cNvPr>
          <p:cNvSpPr/>
          <p:nvPr userDrawn="1"/>
        </p:nvSpPr>
        <p:spPr>
          <a:xfrm>
            <a:off x="0" y="6731001"/>
            <a:ext cx="12192000" cy="126999"/>
          </a:xfrm>
          <a:prstGeom prst="rect">
            <a:avLst/>
          </a:prstGeom>
          <a:solidFill>
            <a:srgbClr val="2FA8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9188C86-009F-6BB0-B972-2D0923AFFE4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752571" y="5999006"/>
            <a:ext cx="1143093" cy="69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404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About Syner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738E7B6B-70A4-4475-8437-02F1B2E07F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738E7B6B-70A4-4475-8437-02F1B2E07F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1C5F369-6D71-4FB5-8741-DB603EEA1B8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>
              <a:latin typeface="Libre Franklin" panose="00000500000000000000" pitchFamily="2" charset="0"/>
              <a:ea typeface="+mj-ea"/>
              <a:cs typeface="+mj-cs"/>
              <a:sym typeface="Libre Franklin" panose="00000500000000000000" pitchFamily="2" charset="0"/>
            </a:endParaRPr>
          </a:p>
        </p:txBody>
      </p:sp>
      <p:graphicFrame>
        <p:nvGraphicFramePr>
          <p:cNvPr id="6" name="Object 9" hidden="1">
            <a:extLst>
              <a:ext uri="{FF2B5EF4-FFF2-40B4-BE49-F238E27FC236}">
                <a16:creationId xmlns:a16="http://schemas.microsoft.com/office/drawing/2014/main" id="{E0D1734E-1D4E-4820-A761-393B3B662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" name="Object 9" hidden="1">
                        <a:extLst>
                          <a:ext uri="{FF2B5EF4-FFF2-40B4-BE49-F238E27FC236}">
                            <a16:creationId xmlns:a16="http://schemas.microsoft.com/office/drawing/2014/main" id="{E0D1734E-1D4E-4820-A761-393B3B6623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8AA33DC-DE6E-4086-AF13-2B658E87E32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>
              <a:solidFill>
                <a:schemeClr val="tx1"/>
              </a:solidFill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54C256B-320D-400F-A9CB-5E8A1D2E85B8}"/>
              </a:ext>
            </a:extLst>
          </p:cNvPr>
          <p:cNvCxnSpPr>
            <a:cxnSpLocks/>
          </p:cNvCxnSpPr>
          <p:nvPr userDrawn="1"/>
        </p:nvCxnSpPr>
        <p:spPr>
          <a:xfrm>
            <a:off x="0" y="1146175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Placeholder 12"/>
          <p:cNvSpPr>
            <a:spLocks noGrp="1"/>
          </p:cNvSpPr>
          <p:nvPr>
            <p:ph type="title" hasCustomPrompt="1"/>
          </p:nvPr>
        </p:nvSpPr>
        <p:spPr>
          <a:xfrm>
            <a:off x="593725" y="603250"/>
            <a:ext cx="5883275" cy="468821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latin typeface="Franklin Gothic Book" panose="020B05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F0F5D9B-BF24-263C-B7CD-A9B2C207FD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C95FE1-3DDC-48D1-BEAE-D066A6B479E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D840ABF-76A2-ACBC-E40A-2096C89CB821}"/>
              </a:ext>
            </a:extLst>
          </p:cNvPr>
          <p:cNvCxnSpPr/>
          <p:nvPr userDrawn="1"/>
        </p:nvCxnSpPr>
        <p:spPr>
          <a:xfrm>
            <a:off x="4242061" y="6465211"/>
            <a:ext cx="0" cy="27432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3BA5802-7561-6373-83F6-18233E3A405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8429" y="6525377"/>
            <a:ext cx="338328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227013" indent="-227013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 defTabSz="912813"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tabLst>
                <a:tab pos="227013" algn="l"/>
              </a:tabLs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defRPr/>
            </a:pPr>
            <a:fld id="{4BEC74A8-881B-4298-9240-BD8D6DC03A34}" type="slidenum">
              <a:rPr lang="en-US" altLang="en-US" sz="1000" smtClean="0"/>
              <a:pPr eaLnBrk="1" hangingPunct="1">
                <a:defRPr/>
              </a:pPr>
              <a:t>‹#›</a:t>
            </a:fld>
            <a:r>
              <a:rPr lang="en-US" altLang="en-US" sz="700" dirty="0"/>
              <a:t>	   © 2025 </a:t>
            </a:r>
            <a:r>
              <a:rPr lang="en-US" altLang="en-US" sz="700" dirty="0" err="1"/>
              <a:t>InfraDev</a:t>
            </a:r>
            <a:r>
              <a:rPr lang="en-US" altLang="en-US" sz="700" dirty="0"/>
              <a:t> Consulting. Private and Confidential: For Limited Circulation Only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05DA9D8-7293-CA95-17AF-06FEA83502FE}"/>
              </a:ext>
            </a:extLst>
          </p:cNvPr>
          <p:cNvSpPr/>
          <p:nvPr userDrawn="1"/>
        </p:nvSpPr>
        <p:spPr>
          <a:xfrm>
            <a:off x="0" y="6731001"/>
            <a:ext cx="12192000" cy="126999"/>
          </a:xfrm>
          <a:prstGeom prst="rect">
            <a:avLst/>
          </a:prstGeom>
          <a:solidFill>
            <a:srgbClr val="2FA8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E89D1DF-46A1-9A30-E18B-726B6380D32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765271" y="255925"/>
            <a:ext cx="1143093" cy="69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363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>
            <a:extLst>
              <a:ext uri="{FF2B5EF4-FFF2-40B4-BE49-F238E27FC236}">
                <a16:creationId xmlns:a16="http://schemas.microsoft.com/office/drawing/2014/main" id="{DE74A81F-02C7-42E5-8ECC-BCFAEC2C18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1026" name="Object 3" hidden="1">
                        <a:extLst>
                          <a:ext uri="{FF2B5EF4-FFF2-40B4-BE49-F238E27FC236}">
                            <a16:creationId xmlns:a16="http://schemas.microsoft.com/office/drawing/2014/main" id="{DE74A81F-02C7-42E5-8ECC-BCFAEC2C183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027FBFB-0259-4D12-A58A-BBFF0C484FE5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latin typeface="Libre Franklin" panose="00000500000000000000" pitchFamily="2" charset="0"/>
              <a:ea typeface="+mj-ea"/>
              <a:cs typeface="+mj-cs"/>
              <a:sym typeface="Libre Franklin" panose="00000500000000000000" pitchFamily="2" charset="0"/>
            </a:endParaRPr>
          </a:p>
        </p:txBody>
      </p:sp>
      <p:sp>
        <p:nvSpPr>
          <p:cNvPr id="1029" name="Title Placeholder 12">
            <a:extLst>
              <a:ext uri="{FF2B5EF4-FFF2-40B4-BE49-F238E27FC236}">
                <a16:creationId xmlns:a16="http://schemas.microsoft.com/office/drawing/2014/main" id="{ED1947EC-52AB-4161-B33E-8A4D1858838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603250"/>
            <a:ext cx="588327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666C36E-9040-AE91-38C8-60EE4EF745AE}"/>
              </a:ext>
            </a:extLst>
          </p:cNvPr>
          <p:cNvGrpSpPr/>
          <p:nvPr userDrawn="1"/>
        </p:nvGrpSpPr>
        <p:grpSpPr>
          <a:xfrm>
            <a:off x="10752571" y="6262160"/>
            <a:ext cx="1277503" cy="393167"/>
            <a:chOff x="4343836" y="6366536"/>
            <a:chExt cx="1096960" cy="31593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FEFCCFD8-C371-6FFE-7AAC-A7F41BF00F3A}"/>
                </a:ext>
              </a:extLst>
            </p:cNvPr>
            <p:cNvGrpSpPr/>
            <p:nvPr userDrawn="1"/>
          </p:nvGrpSpPr>
          <p:grpSpPr>
            <a:xfrm>
              <a:off x="4343836" y="6366536"/>
              <a:ext cx="675862" cy="235834"/>
              <a:chOff x="-1312871" y="647298"/>
              <a:chExt cx="15115498" cy="5563402"/>
            </a:xfrm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E6854BCA-D8AC-5702-7863-AF60049FCBE6}"/>
                  </a:ext>
                </a:extLst>
              </p:cNvPr>
              <p:cNvSpPr/>
              <p:nvPr/>
            </p:nvSpPr>
            <p:spPr>
              <a:xfrm>
                <a:off x="4421793" y="647298"/>
                <a:ext cx="3749967" cy="5563400"/>
              </a:xfrm>
              <a:custGeom>
                <a:avLst/>
                <a:gdLst>
                  <a:gd name="connsiteX0" fmla="*/ 539014 w 2080480"/>
                  <a:gd name="connsiteY0" fmla="*/ 729114 h 2916457"/>
                  <a:gd name="connsiteX1" fmla="*/ 539014 w 2080480"/>
                  <a:gd name="connsiteY1" fmla="*/ 2187342 h 2916457"/>
                  <a:gd name="connsiteX2" fmla="*/ 702731 w 2080480"/>
                  <a:gd name="connsiteY2" fmla="*/ 2172529 h 2916457"/>
                  <a:gd name="connsiteX3" fmla="*/ 1351366 w 2080480"/>
                  <a:gd name="connsiteY3" fmla="*/ 1458228 h 2916457"/>
                  <a:gd name="connsiteX4" fmla="*/ 702731 w 2080480"/>
                  <a:gd name="connsiteY4" fmla="*/ 743927 h 2916457"/>
                  <a:gd name="connsiteX5" fmla="*/ 0 w 2080480"/>
                  <a:gd name="connsiteY5" fmla="*/ 0 h 2916457"/>
                  <a:gd name="connsiteX6" fmla="*/ 539014 w 2080480"/>
                  <a:gd name="connsiteY6" fmla="*/ 0 h 2916457"/>
                  <a:gd name="connsiteX7" fmla="*/ 539014 w 2080480"/>
                  <a:gd name="connsiteY7" fmla="*/ 1 h 2916457"/>
                  <a:gd name="connsiteX8" fmla="*/ 696620 w 2080480"/>
                  <a:gd name="connsiteY8" fmla="*/ 7529 h 2916457"/>
                  <a:gd name="connsiteX9" fmla="*/ 2080480 w 2080480"/>
                  <a:gd name="connsiteY9" fmla="*/ 1458229 h 2916457"/>
                  <a:gd name="connsiteX10" fmla="*/ 539014 w 2080480"/>
                  <a:gd name="connsiteY10" fmla="*/ 2916457 h 2916457"/>
                  <a:gd name="connsiteX11" fmla="*/ 539014 w 2080480"/>
                  <a:gd name="connsiteY11" fmla="*/ 2916455 h 2916457"/>
                  <a:gd name="connsiteX12" fmla="*/ 0 w 2080480"/>
                  <a:gd name="connsiteY12" fmla="*/ 2916455 h 2916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80480" h="2916457">
                    <a:moveTo>
                      <a:pt x="539014" y="729114"/>
                    </a:moveTo>
                    <a:lnTo>
                      <a:pt x="539014" y="2187342"/>
                    </a:lnTo>
                    <a:lnTo>
                      <a:pt x="702731" y="2172529"/>
                    </a:lnTo>
                    <a:cubicBezTo>
                      <a:pt x="1072906" y="2104542"/>
                      <a:pt x="1351366" y="1810572"/>
                      <a:pt x="1351366" y="1458228"/>
                    </a:cubicBezTo>
                    <a:cubicBezTo>
                      <a:pt x="1351366" y="1105884"/>
                      <a:pt x="1072906" y="811914"/>
                      <a:pt x="702731" y="743927"/>
                    </a:cubicBezTo>
                    <a:close/>
                    <a:moveTo>
                      <a:pt x="0" y="0"/>
                    </a:moveTo>
                    <a:lnTo>
                      <a:pt x="539014" y="0"/>
                    </a:lnTo>
                    <a:lnTo>
                      <a:pt x="539014" y="1"/>
                    </a:lnTo>
                    <a:lnTo>
                      <a:pt x="696620" y="7529"/>
                    </a:lnTo>
                    <a:cubicBezTo>
                      <a:pt x="1473913" y="82205"/>
                      <a:pt x="2080480" y="703206"/>
                      <a:pt x="2080480" y="1458229"/>
                    </a:cubicBezTo>
                    <a:cubicBezTo>
                      <a:pt x="2080480" y="2263586"/>
                      <a:pt x="1390342" y="2916457"/>
                      <a:pt x="539014" y="2916457"/>
                    </a:cubicBezTo>
                    <a:lnTo>
                      <a:pt x="539014" y="2916455"/>
                    </a:lnTo>
                    <a:lnTo>
                      <a:pt x="0" y="2916455"/>
                    </a:lnTo>
                    <a:close/>
                  </a:path>
                </a:pathLst>
              </a:custGeom>
              <a:gradFill>
                <a:gsLst>
                  <a:gs pos="40000">
                    <a:srgbClr val="FAB41F"/>
                  </a:gs>
                  <a:gs pos="48000">
                    <a:srgbClr val="F79115"/>
                  </a:gs>
                </a:gsLst>
                <a:lin ang="5400000" scaled="1"/>
              </a:gradFill>
              <a:ln>
                <a:solidFill>
                  <a:srgbClr val="F68A1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8" name="Block Arc 7">
                <a:extLst>
                  <a:ext uri="{FF2B5EF4-FFF2-40B4-BE49-F238E27FC236}">
                    <a16:creationId xmlns:a16="http://schemas.microsoft.com/office/drawing/2014/main" id="{821C9841-B0FD-EEF3-E61F-2A2F28B2A4E4}"/>
                  </a:ext>
                </a:extLst>
              </p:cNvPr>
              <p:cNvSpPr/>
              <p:nvPr/>
            </p:nvSpPr>
            <p:spPr>
              <a:xfrm rot="16200000">
                <a:off x="8242509" y="650580"/>
                <a:ext cx="5563396" cy="5556840"/>
              </a:xfrm>
              <a:prstGeom prst="blockArc">
                <a:avLst>
                  <a:gd name="adj1" fmla="val 10800000"/>
                  <a:gd name="adj2" fmla="val 47466"/>
                  <a:gd name="adj3" fmla="val 23853"/>
                </a:avLst>
              </a:prstGeom>
              <a:gradFill flip="none" rotWithShape="1">
                <a:gsLst>
                  <a:gs pos="5000">
                    <a:srgbClr val="58BC66"/>
                  </a:gs>
                  <a:gs pos="94000">
                    <a:srgbClr val="0895A0"/>
                  </a:gs>
                </a:gsLst>
                <a:lin ang="540000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C7EFCDB3-BD50-63FD-FAF5-DC22B62E41C1}"/>
                  </a:ext>
                </a:extLst>
              </p:cNvPr>
              <p:cNvSpPr/>
              <p:nvPr/>
            </p:nvSpPr>
            <p:spPr>
              <a:xfrm>
                <a:off x="2762449" y="647298"/>
                <a:ext cx="1370578" cy="5563402"/>
              </a:xfrm>
              <a:prstGeom prst="roundRect">
                <a:avLst>
                  <a:gd name="adj" fmla="val 0"/>
                </a:avLst>
              </a:prstGeom>
              <a:gradFill flip="none" rotWithShape="1">
                <a:gsLst>
                  <a:gs pos="83000">
                    <a:schemeClr val="accent6">
                      <a:lumMod val="95000"/>
                      <a:lumOff val="5000"/>
                    </a:schemeClr>
                  </a:gs>
                  <a:gs pos="94000">
                    <a:srgbClr val="00954D"/>
                  </a:gs>
                </a:gsLst>
                <a:lin ang="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10519687-F60E-7198-62C7-F111BDB626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-1312871" y="733306"/>
                <a:ext cx="4038307" cy="5473164"/>
              </a:xfrm>
              <a:prstGeom prst="rect">
                <a:avLst/>
              </a:prstGeom>
            </p:spPr>
          </p:pic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5074C77-AB51-0842-A682-F4CA3AD33047}"/>
                </a:ext>
              </a:extLst>
            </p:cNvPr>
            <p:cNvSpPr txBox="1"/>
            <p:nvPr userDrawn="1"/>
          </p:nvSpPr>
          <p:spPr>
            <a:xfrm>
              <a:off x="4343836" y="6595906"/>
              <a:ext cx="1096960" cy="865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00" b="1" dirty="0" err="1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InfraDev</a:t>
              </a:r>
              <a:r>
                <a:rPr lang="en-US" sz="700" b="1" dirty="0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 Consulting Private Limited</a:t>
              </a: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213A033F-E504-19B1-61F0-0D1C7E84AA9C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752571" y="5999006"/>
            <a:ext cx="1143093" cy="69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787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ts val="1200"/>
        </a:spcAft>
        <a:defRPr lang="en-GB" sz="2400" b="1" kern="1200" dirty="0">
          <a:solidFill>
            <a:schemeClr val="accent1"/>
          </a:solidFill>
          <a:latin typeface="Franklin Gothic Book" panose="020B0503020102020204" pitchFamily="34" charset="0"/>
          <a:ea typeface="+mj-ea"/>
          <a:cs typeface="+mj-cs"/>
        </a:defRPr>
      </a:lvl1pPr>
      <a:lvl2pPr algn="l" defTabSz="912813" rtl="0" eaLnBrk="0" fontAlgn="base" hangingPunct="0">
        <a:lnSpc>
          <a:spcPct val="90000"/>
        </a:lnSpc>
        <a:spcBef>
          <a:spcPct val="0"/>
        </a:spcBef>
        <a:spcAft>
          <a:spcPts val="1200"/>
        </a:spcAft>
        <a:defRPr sz="2400" b="1">
          <a:solidFill>
            <a:schemeClr val="accent1"/>
          </a:solidFill>
          <a:latin typeface="Franklin Gothic Book" panose="020B0503020102020204" pitchFamily="34" charset="0"/>
        </a:defRPr>
      </a:lvl2pPr>
      <a:lvl3pPr algn="l" defTabSz="912813" rtl="0" eaLnBrk="0" fontAlgn="base" hangingPunct="0">
        <a:lnSpc>
          <a:spcPct val="90000"/>
        </a:lnSpc>
        <a:spcBef>
          <a:spcPct val="0"/>
        </a:spcBef>
        <a:spcAft>
          <a:spcPts val="1200"/>
        </a:spcAft>
        <a:defRPr sz="2400" b="1">
          <a:solidFill>
            <a:schemeClr val="accent1"/>
          </a:solidFill>
          <a:latin typeface="Franklin Gothic Book" panose="020B0503020102020204" pitchFamily="34" charset="0"/>
        </a:defRPr>
      </a:lvl3pPr>
      <a:lvl4pPr algn="l" defTabSz="912813" rtl="0" eaLnBrk="0" fontAlgn="base" hangingPunct="0">
        <a:lnSpc>
          <a:spcPct val="90000"/>
        </a:lnSpc>
        <a:spcBef>
          <a:spcPct val="0"/>
        </a:spcBef>
        <a:spcAft>
          <a:spcPts val="1200"/>
        </a:spcAft>
        <a:defRPr sz="2400" b="1">
          <a:solidFill>
            <a:schemeClr val="accent1"/>
          </a:solidFill>
          <a:latin typeface="Franklin Gothic Book" panose="020B0503020102020204" pitchFamily="34" charset="0"/>
        </a:defRPr>
      </a:lvl4pPr>
      <a:lvl5pPr algn="l" defTabSz="912813" rtl="0" eaLnBrk="0" fontAlgn="base" hangingPunct="0">
        <a:lnSpc>
          <a:spcPct val="90000"/>
        </a:lnSpc>
        <a:spcBef>
          <a:spcPct val="0"/>
        </a:spcBef>
        <a:spcAft>
          <a:spcPts val="1200"/>
        </a:spcAft>
        <a:defRPr sz="2400" b="1">
          <a:solidFill>
            <a:schemeClr val="accent1"/>
          </a:solidFill>
          <a:latin typeface="Franklin Gothic Book" panose="020B0503020102020204" pitchFamily="34" charset="0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ts val="1200"/>
        </a:spcAft>
        <a:defRPr sz="2400" b="1">
          <a:solidFill>
            <a:schemeClr val="accent1"/>
          </a:solidFill>
          <a:latin typeface="Franklin Gothic Book" panose="020B0503020102020204" pitchFamily="34" charset="0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ts val="1200"/>
        </a:spcAft>
        <a:defRPr sz="2400" b="1">
          <a:solidFill>
            <a:schemeClr val="accent1"/>
          </a:solidFill>
          <a:latin typeface="Franklin Gothic Book" panose="020B0503020102020204" pitchFamily="34" charset="0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ts val="1200"/>
        </a:spcAft>
        <a:defRPr sz="2400" b="1">
          <a:solidFill>
            <a:schemeClr val="accent1"/>
          </a:solidFill>
          <a:latin typeface="Franklin Gothic Book" panose="020B0503020102020204" pitchFamily="34" charset="0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ts val="1200"/>
        </a:spcAft>
        <a:defRPr sz="2400" b="1">
          <a:solidFill>
            <a:schemeClr val="accent1"/>
          </a:solidFill>
          <a:latin typeface="Franklin Gothic Book" panose="020B0503020102020204" pitchFamily="34" charset="0"/>
        </a:defRPr>
      </a:lvl9pPr>
    </p:titleStyle>
    <p:bodyStyle>
      <a:lvl1pPr marL="227013" indent="-227013" algn="l" defTabSz="912813" rtl="0" eaLnBrk="0" fontAlgn="base" hangingPunct="0">
        <a:spcBef>
          <a:spcPct val="0"/>
        </a:spcBef>
        <a:spcAft>
          <a:spcPts val="1200"/>
        </a:spcAft>
        <a:buClr>
          <a:schemeClr val="tx2"/>
        </a:buClr>
        <a:buSzPct val="100000"/>
        <a:buFont typeface="Wingdings" panose="05000000000000000000" pitchFamily="2" charset="2"/>
        <a:buChar char="§"/>
        <a:defRPr lang="en-US" sz="1600" kern="1200" dirty="0">
          <a:solidFill>
            <a:schemeClr val="tx1"/>
          </a:solidFill>
          <a:latin typeface="Libre Franklin" panose="00000500000000000000" charset="0"/>
          <a:ea typeface="+mn-ea"/>
          <a:cs typeface="+mn-cs"/>
        </a:defRPr>
      </a:lvl1pPr>
      <a:lvl2pPr marL="455613" indent="-227013" algn="l" defTabSz="912813" rtl="0" eaLnBrk="0" fontAlgn="base" hangingPunct="0">
        <a:spcBef>
          <a:spcPct val="0"/>
        </a:spcBef>
        <a:spcAft>
          <a:spcPts val="1200"/>
        </a:spcAft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Libre Franklin" panose="00000500000000000000" charset="0"/>
          <a:ea typeface="+mn-ea"/>
          <a:cs typeface="+mn-cs"/>
        </a:defRPr>
      </a:lvl2pPr>
      <a:lvl3pPr marL="681038" indent="-223838" algn="l" defTabSz="912813" rtl="0" eaLnBrk="0" fontAlgn="base" hangingPunct="0">
        <a:spcBef>
          <a:spcPct val="0"/>
        </a:spcBef>
        <a:spcAft>
          <a:spcPts val="1200"/>
        </a:spcAft>
        <a:buSzPct val="100000"/>
        <a:buFont typeface="Wingdings" panose="05000000000000000000" pitchFamily="2" charset="2"/>
        <a:buChar char="§"/>
        <a:defRPr lang="en-US" sz="1600" kern="1200" dirty="0">
          <a:solidFill>
            <a:schemeClr val="tx1"/>
          </a:solidFill>
          <a:latin typeface="Libre Franklin" panose="00000500000000000000" charset="0"/>
          <a:ea typeface="+mn-ea"/>
          <a:cs typeface="+mn-cs"/>
        </a:defRPr>
      </a:lvl3pPr>
      <a:lvl4pPr marL="912813" indent="-227013" algn="l" defTabSz="912813" rtl="0" eaLnBrk="0" fontAlgn="base" hangingPunct="0">
        <a:spcBef>
          <a:spcPct val="0"/>
        </a:spcBef>
        <a:spcAft>
          <a:spcPts val="1200"/>
        </a:spcAft>
        <a:buSzPct val="100000"/>
        <a:buFont typeface="Arial" panose="020B0604020202020204" pitchFamily="34" charset="0"/>
        <a:buChar char="–"/>
        <a:defRPr lang="en-US" sz="1600" kern="1200" dirty="0">
          <a:solidFill>
            <a:schemeClr val="tx1"/>
          </a:solidFill>
          <a:latin typeface="Libre Franklin" panose="00000500000000000000" charset="0"/>
          <a:ea typeface="+mn-ea"/>
          <a:cs typeface="+mn-cs"/>
        </a:defRPr>
      </a:lvl4pPr>
      <a:lvl5pPr marL="1144588" indent="-230188" algn="l" defTabSz="912813" rtl="0" eaLnBrk="0" fontAlgn="base" hangingPunct="0">
        <a:spcBef>
          <a:spcPct val="0"/>
        </a:spcBef>
        <a:spcAft>
          <a:spcPts val="1200"/>
        </a:spcAft>
        <a:buSzPct val="100000"/>
        <a:buFont typeface="Wingdings" panose="05000000000000000000" pitchFamily="2" charset="2"/>
        <a:buChar char="§"/>
        <a:defRPr lang="en-US" sz="1600" kern="1200" dirty="0">
          <a:solidFill>
            <a:schemeClr val="tx1"/>
          </a:solidFill>
          <a:latin typeface="Libre Franklin" panose="00000500000000000000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10" Type="http://schemas.openxmlformats.org/officeDocument/2006/relationships/image" Target="../media/image3.png"/><Relationship Id="rId4" Type="http://schemas.openxmlformats.org/officeDocument/2006/relationships/image" Target="../media/image7.emf"/><Relationship Id="rId9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3.png"/><Relationship Id="rId4" Type="http://schemas.openxmlformats.org/officeDocument/2006/relationships/image" Target="../media/image7.emf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50" progId="TCLayout.ActiveDocument.1">
                  <p:embed/>
                </p:oleObj>
              </mc:Choice>
              <mc:Fallback>
                <p:oleObj name="think-cell Slide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BE6F5BFD-9E65-3BD4-B4BD-10FDDA0D65C7}"/>
              </a:ext>
            </a:extLst>
          </p:cNvPr>
          <p:cNvGrpSpPr/>
          <p:nvPr/>
        </p:nvGrpSpPr>
        <p:grpSpPr>
          <a:xfrm>
            <a:off x="3728534" y="774956"/>
            <a:ext cx="4427516" cy="4757012"/>
            <a:chOff x="3728534" y="1117855"/>
            <a:chExt cx="4518032" cy="4875151"/>
          </a:xfrm>
        </p:grpSpPr>
        <p:grpSp>
          <p:nvGrpSpPr>
            <p:cNvPr id="42" name="Gruppieren 31">
              <a:extLst>
                <a:ext uri="{FF2B5EF4-FFF2-40B4-BE49-F238E27FC236}">
                  <a16:creationId xmlns:a16="http://schemas.microsoft.com/office/drawing/2014/main" id="{51A06750-4383-4276-D073-1275637ED1BD}"/>
                </a:ext>
              </a:extLst>
            </p:cNvPr>
            <p:cNvGrpSpPr>
              <a:grpSpLocks/>
            </p:cNvGrpSpPr>
            <p:nvPr/>
          </p:nvGrpSpPr>
          <p:grpSpPr>
            <a:xfrm>
              <a:off x="3728534" y="1117855"/>
              <a:ext cx="4518032" cy="4875151"/>
              <a:chOff x="3836686" y="1196511"/>
              <a:chExt cx="4518032" cy="4875151"/>
            </a:xfrm>
          </p:grpSpPr>
          <p:sp>
            <p:nvSpPr>
              <p:cNvPr id="43" name="Freihandform: Form 32">
                <a:extLst>
                  <a:ext uri="{FF2B5EF4-FFF2-40B4-BE49-F238E27FC236}">
                    <a16:creationId xmlns:a16="http://schemas.microsoft.com/office/drawing/2014/main" id="{72141B45-9685-7915-1365-16421EFDC29E}"/>
                  </a:ext>
                </a:extLst>
              </p:cNvPr>
              <p:cNvSpPr>
                <a:spLocks/>
              </p:cNvSpPr>
              <p:nvPr/>
            </p:nvSpPr>
            <p:spPr>
              <a:xfrm rot="1800000">
                <a:off x="3836686" y="2864286"/>
                <a:ext cx="2054995" cy="1772355"/>
              </a:xfrm>
              <a:custGeom>
                <a:avLst/>
                <a:gdLst>
                  <a:gd name="connsiteX0" fmla="*/ 2054996 w 2054995"/>
                  <a:gd name="connsiteY0" fmla="*/ 1037262 h 1772355"/>
                  <a:gd name="connsiteX1" fmla="*/ 781875 w 2054995"/>
                  <a:gd name="connsiteY1" fmla="*/ 1772356 h 1772355"/>
                  <a:gd name="connsiteX2" fmla="*/ 0 w 2054995"/>
                  <a:gd name="connsiteY2" fmla="*/ 169637 h 1772355"/>
                  <a:gd name="connsiteX3" fmla="*/ 7013 w 2054995"/>
                  <a:gd name="connsiteY3" fmla="*/ 0 h 1772355"/>
                  <a:gd name="connsiteX4" fmla="*/ 1602098 w 2054995"/>
                  <a:gd name="connsiteY4" fmla="*/ 920886 h 1772355"/>
                  <a:gd name="connsiteX5" fmla="*/ 2034401 w 2054995"/>
                  <a:gd name="connsiteY5" fmla="*/ 1037528 h 1772355"/>
                  <a:gd name="connsiteX6" fmla="*/ 2054996 w 2054995"/>
                  <a:gd name="connsiteY6" fmla="*/ 1037262 h 1772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54995" h="1772355">
                    <a:moveTo>
                      <a:pt x="2054996" y="1037262"/>
                    </a:moveTo>
                    <a:lnTo>
                      <a:pt x="781875" y="1772356"/>
                    </a:lnTo>
                    <a:cubicBezTo>
                      <a:pt x="306163" y="1399438"/>
                      <a:pt x="0" y="819601"/>
                      <a:pt x="0" y="169637"/>
                    </a:cubicBezTo>
                    <a:cubicBezTo>
                      <a:pt x="0" y="112470"/>
                      <a:pt x="2397" y="55924"/>
                      <a:pt x="7013" y="0"/>
                    </a:cubicBezTo>
                    <a:lnTo>
                      <a:pt x="1602098" y="920886"/>
                    </a:lnTo>
                    <a:cubicBezTo>
                      <a:pt x="1735783" y="998115"/>
                      <a:pt x="1884116" y="1037528"/>
                      <a:pt x="2034401" y="1037528"/>
                    </a:cubicBezTo>
                    <a:cubicBezTo>
                      <a:pt x="2041237" y="1037528"/>
                      <a:pt x="2048161" y="1037440"/>
                      <a:pt x="2054996" y="1037262"/>
                    </a:cubicBezTo>
                    <a:close/>
                  </a:path>
                </a:pathLst>
              </a:custGeom>
              <a:solidFill>
                <a:srgbClr val="4472C4"/>
              </a:solidFill>
              <a:ln w="88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ihandform: Form 33">
                <a:extLst>
                  <a:ext uri="{FF2B5EF4-FFF2-40B4-BE49-F238E27FC236}">
                    <a16:creationId xmlns:a16="http://schemas.microsoft.com/office/drawing/2014/main" id="{438C2DEA-C837-68CE-C355-B3D2443916A9}"/>
                  </a:ext>
                </a:extLst>
              </p:cNvPr>
              <p:cNvSpPr>
                <a:spLocks/>
              </p:cNvSpPr>
              <p:nvPr/>
            </p:nvSpPr>
            <p:spPr>
              <a:xfrm rot="1800000">
                <a:off x="4348832" y="3786341"/>
                <a:ext cx="1921576" cy="1619406"/>
              </a:xfrm>
              <a:custGeom>
                <a:avLst/>
                <a:gdLst>
                  <a:gd name="connsiteX0" fmla="*/ 1921577 w 1921576"/>
                  <a:gd name="connsiteY0" fmla="*/ 0 h 1619406"/>
                  <a:gd name="connsiteX1" fmla="*/ 1921577 w 1921576"/>
                  <a:gd name="connsiteY1" fmla="*/ 1471873 h 1619406"/>
                  <a:gd name="connsiteX2" fmla="*/ 1160562 w 1921576"/>
                  <a:gd name="connsiteY2" fmla="*/ 1619407 h 1619406"/>
                  <a:gd name="connsiteX3" fmla="*/ 0 w 1921576"/>
                  <a:gd name="connsiteY3" fmla="*/ 1255367 h 1619406"/>
                  <a:gd name="connsiteX4" fmla="*/ 1575733 w 1921576"/>
                  <a:gd name="connsiteY4" fmla="*/ 345488 h 1619406"/>
                  <a:gd name="connsiteX5" fmla="*/ 1582391 w 1921576"/>
                  <a:gd name="connsiteY5" fmla="*/ 341759 h 1619406"/>
                  <a:gd name="connsiteX6" fmla="*/ 1911812 w 1921576"/>
                  <a:gd name="connsiteY6" fmla="*/ 17310 h 1619406"/>
                  <a:gd name="connsiteX7" fmla="*/ 1921577 w 1921576"/>
                  <a:gd name="connsiteY7" fmla="*/ 0 h 1619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1576" h="1619406">
                    <a:moveTo>
                      <a:pt x="1921577" y="0"/>
                    </a:moveTo>
                    <a:lnTo>
                      <a:pt x="1921577" y="1471873"/>
                    </a:lnTo>
                    <a:cubicBezTo>
                      <a:pt x="1686339" y="1567033"/>
                      <a:pt x="1429443" y="1619407"/>
                      <a:pt x="1160562" y="1619407"/>
                    </a:cubicBezTo>
                    <a:cubicBezTo>
                      <a:pt x="729590" y="1619407"/>
                      <a:pt x="329421" y="1484834"/>
                      <a:pt x="0" y="1255367"/>
                    </a:cubicBezTo>
                    <a:lnTo>
                      <a:pt x="1575733" y="345488"/>
                    </a:lnTo>
                    <a:lnTo>
                      <a:pt x="1582391" y="341759"/>
                    </a:lnTo>
                    <a:cubicBezTo>
                      <a:pt x="1718651" y="266661"/>
                      <a:pt x="1832097" y="155523"/>
                      <a:pt x="1911812" y="17310"/>
                    </a:cubicBezTo>
                    <a:cubicBezTo>
                      <a:pt x="1915096" y="11540"/>
                      <a:pt x="1918381" y="5770"/>
                      <a:pt x="1921577" y="0"/>
                    </a:cubicBezTo>
                    <a:close/>
                  </a:path>
                </a:pathLst>
              </a:custGeom>
              <a:solidFill>
                <a:srgbClr val="92D050"/>
              </a:solidFill>
              <a:ln w="88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ihandform: Form 34">
                <a:extLst>
                  <a:ext uri="{FF2B5EF4-FFF2-40B4-BE49-F238E27FC236}">
                    <a16:creationId xmlns:a16="http://schemas.microsoft.com/office/drawing/2014/main" id="{2A908F04-5070-1E28-E0E0-3C0AFFCF2172}"/>
                  </a:ext>
                </a:extLst>
              </p:cNvPr>
              <p:cNvSpPr>
                <a:spLocks/>
              </p:cNvSpPr>
              <p:nvPr/>
            </p:nvSpPr>
            <p:spPr>
              <a:xfrm rot="1800000">
                <a:off x="6304324" y="3779211"/>
                <a:ext cx="1274985" cy="2292451"/>
              </a:xfrm>
              <a:custGeom>
                <a:avLst/>
                <a:gdLst>
                  <a:gd name="connsiteX0" fmla="*/ 1274985 w 1274985"/>
                  <a:gd name="connsiteY0" fmla="*/ 736070 h 2292451"/>
                  <a:gd name="connsiteX1" fmla="*/ 126584 w 1274985"/>
                  <a:gd name="connsiteY1" fmla="*/ 2292451 h 2292451"/>
                  <a:gd name="connsiteX2" fmla="*/ 126584 w 1274985"/>
                  <a:gd name="connsiteY2" fmla="*/ 450945 h 2292451"/>
                  <a:gd name="connsiteX3" fmla="*/ 126407 w 1274985"/>
                  <a:gd name="connsiteY3" fmla="*/ 450945 h 2292451"/>
                  <a:gd name="connsiteX4" fmla="*/ 0 w 1274985"/>
                  <a:gd name="connsiteY4" fmla="*/ 0 h 2292451"/>
                  <a:gd name="connsiteX5" fmla="*/ 1274985 w 1274985"/>
                  <a:gd name="connsiteY5" fmla="*/ 736070 h 2292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74985" h="2292451">
                    <a:moveTo>
                      <a:pt x="1274985" y="736070"/>
                    </a:moveTo>
                    <a:cubicBezTo>
                      <a:pt x="1177961" y="1425359"/>
                      <a:pt x="734295" y="2005107"/>
                      <a:pt x="126584" y="2292451"/>
                    </a:cubicBezTo>
                    <a:lnTo>
                      <a:pt x="126584" y="450945"/>
                    </a:lnTo>
                    <a:lnTo>
                      <a:pt x="126407" y="450945"/>
                    </a:lnTo>
                    <a:cubicBezTo>
                      <a:pt x="126140" y="292315"/>
                      <a:pt x="82377" y="135816"/>
                      <a:pt x="0" y="0"/>
                    </a:cubicBezTo>
                    <a:lnTo>
                      <a:pt x="1274985" y="736070"/>
                    </a:lnTo>
                    <a:close/>
                  </a:path>
                </a:pathLst>
              </a:custGeom>
              <a:solidFill>
                <a:srgbClr val="4472C4"/>
              </a:solidFill>
              <a:ln w="88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ihandform: Form 35">
                <a:extLst>
                  <a:ext uri="{FF2B5EF4-FFF2-40B4-BE49-F238E27FC236}">
                    <a16:creationId xmlns:a16="http://schemas.microsoft.com/office/drawing/2014/main" id="{3C460D99-1061-B096-6C19-34F22AE37612}"/>
                  </a:ext>
                </a:extLst>
              </p:cNvPr>
              <p:cNvSpPr>
                <a:spLocks/>
              </p:cNvSpPr>
              <p:nvPr/>
            </p:nvSpPr>
            <p:spPr>
              <a:xfrm rot="1800000">
                <a:off x="6299634" y="2631509"/>
                <a:ext cx="2055084" cy="1772266"/>
              </a:xfrm>
              <a:custGeom>
                <a:avLst/>
                <a:gdLst>
                  <a:gd name="connsiteX0" fmla="*/ 2055085 w 2055084"/>
                  <a:gd name="connsiteY0" fmla="*/ 1602718 h 1772266"/>
                  <a:gd name="connsiteX1" fmla="*/ 2048072 w 2055084"/>
                  <a:gd name="connsiteY1" fmla="*/ 1772267 h 1772266"/>
                  <a:gd name="connsiteX2" fmla="*/ 452987 w 2055084"/>
                  <a:gd name="connsiteY2" fmla="*/ 851380 h 1772266"/>
                  <a:gd name="connsiteX3" fmla="*/ 0 w 2055084"/>
                  <a:gd name="connsiteY3" fmla="*/ 735093 h 1772266"/>
                  <a:gd name="connsiteX4" fmla="*/ 1273210 w 2055084"/>
                  <a:gd name="connsiteY4" fmla="*/ 0 h 1772266"/>
                  <a:gd name="connsiteX5" fmla="*/ 2055085 w 2055084"/>
                  <a:gd name="connsiteY5" fmla="*/ 1602718 h 1772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55084" h="1772266">
                    <a:moveTo>
                      <a:pt x="2055085" y="1602718"/>
                    </a:moveTo>
                    <a:cubicBezTo>
                      <a:pt x="2055085" y="1659797"/>
                      <a:pt x="2052688" y="1716342"/>
                      <a:pt x="2048072" y="1772267"/>
                    </a:cubicBezTo>
                    <a:lnTo>
                      <a:pt x="452987" y="851380"/>
                    </a:lnTo>
                    <a:cubicBezTo>
                      <a:pt x="313265" y="770690"/>
                      <a:pt x="157387" y="731276"/>
                      <a:pt x="0" y="735093"/>
                    </a:cubicBezTo>
                    <a:lnTo>
                      <a:pt x="1273210" y="0"/>
                    </a:lnTo>
                    <a:cubicBezTo>
                      <a:pt x="1748921" y="372917"/>
                      <a:pt x="2055085" y="952754"/>
                      <a:pt x="2055085" y="1602718"/>
                    </a:cubicBezTo>
                    <a:close/>
                  </a:path>
                </a:pathLst>
              </a:custGeom>
              <a:solidFill>
                <a:srgbClr val="92D050"/>
              </a:solidFill>
              <a:ln w="88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ihandform: Form 36">
                <a:extLst>
                  <a:ext uri="{FF2B5EF4-FFF2-40B4-BE49-F238E27FC236}">
                    <a16:creationId xmlns:a16="http://schemas.microsoft.com/office/drawing/2014/main" id="{0EFFE4C6-2DDA-6BC4-7606-A013B3921960}"/>
                  </a:ext>
                </a:extLst>
              </p:cNvPr>
              <p:cNvSpPr>
                <a:spLocks/>
              </p:cNvSpPr>
              <p:nvPr/>
            </p:nvSpPr>
            <p:spPr>
              <a:xfrm rot="1800000">
                <a:off x="5920990" y="1862424"/>
                <a:ext cx="1921576" cy="1619318"/>
              </a:xfrm>
              <a:custGeom>
                <a:avLst/>
                <a:gdLst>
                  <a:gd name="connsiteX0" fmla="*/ 1921576 w 1921576"/>
                  <a:gd name="connsiteY0" fmla="*/ 364040 h 1619318"/>
                  <a:gd name="connsiteX1" fmla="*/ 346376 w 1921576"/>
                  <a:gd name="connsiteY1" fmla="*/ 1273475 h 1619318"/>
                  <a:gd name="connsiteX2" fmla="*/ 345843 w 1921576"/>
                  <a:gd name="connsiteY2" fmla="*/ 1273742 h 1619318"/>
                  <a:gd name="connsiteX3" fmla="*/ 9765 w 1921576"/>
                  <a:gd name="connsiteY3" fmla="*/ 1602008 h 1619318"/>
                  <a:gd name="connsiteX4" fmla="*/ 0 w 1921576"/>
                  <a:gd name="connsiteY4" fmla="*/ 1619318 h 1619318"/>
                  <a:gd name="connsiteX5" fmla="*/ 0 w 1921576"/>
                  <a:gd name="connsiteY5" fmla="*/ 147534 h 1619318"/>
                  <a:gd name="connsiteX6" fmla="*/ 761014 w 1921576"/>
                  <a:gd name="connsiteY6" fmla="*/ 0 h 1619318"/>
                  <a:gd name="connsiteX7" fmla="*/ 1921576 w 1921576"/>
                  <a:gd name="connsiteY7" fmla="*/ 364040 h 161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1576" h="1619318">
                    <a:moveTo>
                      <a:pt x="1921576" y="364040"/>
                    </a:moveTo>
                    <a:lnTo>
                      <a:pt x="346376" y="1273475"/>
                    </a:lnTo>
                    <a:lnTo>
                      <a:pt x="345843" y="1273742"/>
                    </a:lnTo>
                    <a:cubicBezTo>
                      <a:pt x="206742" y="1349195"/>
                      <a:pt x="90810" y="1461576"/>
                      <a:pt x="9765" y="1602008"/>
                    </a:cubicBezTo>
                    <a:cubicBezTo>
                      <a:pt x="6480" y="1607778"/>
                      <a:pt x="3196" y="1613548"/>
                      <a:pt x="0" y="1619318"/>
                    </a:cubicBezTo>
                    <a:lnTo>
                      <a:pt x="0" y="147534"/>
                    </a:lnTo>
                    <a:cubicBezTo>
                      <a:pt x="235237" y="52374"/>
                      <a:pt x="492134" y="0"/>
                      <a:pt x="761014" y="0"/>
                    </a:cubicBezTo>
                    <a:cubicBezTo>
                      <a:pt x="1191986" y="0"/>
                      <a:pt x="1592156" y="134573"/>
                      <a:pt x="1921576" y="364040"/>
                    </a:cubicBezTo>
                    <a:close/>
                  </a:path>
                </a:pathLst>
              </a:custGeom>
              <a:solidFill>
                <a:srgbClr val="4472C4"/>
              </a:solidFill>
              <a:ln w="88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ihandform: Form 37">
                <a:extLst>
                  <a:ext uri="{FF2B5EF4-FFF2-40B4-BE49-F238E27FC236}">
                    <a16:creationId xmlns:a16="http://schemas.microsoft.com/office/drawing/2014/main" id="{8D92D06C-8370-73D2-F898-D53C0EA66E35}"/>
                  </a:ext>
                </a:extLst>
              </p:cNvPr>
              <p:cNvSpPr>
                <a:spLocks/>
              </p:cNvSpPr>
              <p:nvPr/>
            </p:nvSpPr>
            <p:spPr>
              <a:xfrm rot="1800000">
                <a:off x="4612090" y="1196511"/>
                <a:ext cx="1274985" cy="2292362"/>
              </a:xfrm>
              <a:custGeom>
                <a:avLst/>
                <a:gdLst>
                  <a:gd name="connsiteX0" fmla="*/ 1274985 w 1274985"/>
                  <a:gd name="connsiteY0" fmla="*/ 2292362 h 2292362"/>
                  <a:gd name="connsiteX1" fmla="*/ 0 w 1274985"/>
                  <a:gd name="connsiteY1" fmla="*/ 1556292 h 2292362"/>
                  <a:gd name="connsiteX2" fmla="*/ 1148401 w 1274985"/>
                  <a:gd name="connsiteY2" fmla="*/ 0 h 2292362"/>
                  <a:gd name="connsiteX3" fmla="*/ 1148401 w 1274985"/>
                  <a:gd name="connsiteY3" fmla="*/ 1841506 h 2292362"/>
                  <a:gd name="connsiteX4" fmla="*/ 1148579 w 1274985"/>
                  <a:gd name="connsiteY4" fmla="*/ 1841506 h 2292362"/>
                  <a:gd name="connsiteX5" fmla="*/ 1274985 w 1274985"/>
                  <a:gd name="connsiteY5" fmla="*/ 2292362 h 2292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74985" h="2292362">
                    <a:moveTo>
                      <a:pt x="1274985" y="2292362"/>
                    </a:moveTo>
                    <a:lnTo>
                      <a:pt x="0" y="1556292"/>
                    </a:lnTo>
                    <a:cubicBezTo>
                      <a:pt x="97113" y="866915"/>
                      <a:pt x="540690" y="287344"/>
                      <a:pt x="1148401" y="0"/>
                    </a:cubicBezTo>
                    <a:lnTo>
                      <a:pt x="1148401" y="1841506"/>
                    </a:lnTo>
                    <a:lnTo>
                      <a:pt x="1148579" y="1841506"/>
                    </a:lnTo>
                    <a:cubicBezTo>
                      <a:pt x="1148845" y="2000225"/>
                      <a:pt x="1192608" y="2156546"/>
                      <a:pt x="1274985" y="2292362"/>
                    </a:cubicBezTo>
                    <a:close/>
                  </a:path>
                </a:pathLst>
              </a:custGeom>
              <a:solidFill>
                <a:srgbClr val="92D050"/>
              </a:solidFill>
              <a:ln w="88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52" name="Textfeld 55">
              <a:extLst>
                <a:ext uri="{FF2B5EF4-FFF2-40B4-BE49-F238E27FC236}">
                  <a16:creationId xmlns:a16="http://schemas.microsoft.com/office/drawing/2014/main" id="{9C1C941E-8DBE-F7AC-0A37-AEE306E66E9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1984" y="2147904"/>
              <a:ext cx="177877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velopment &amp;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ansaction Advisory including M&amp;A Transactions</a:t>
              </a:r>
            </a:p>
          </p:txBody>
        </p:sp>
        <p:sp>
          <p:nvSpPr>
            <p:cNvPr id="53" name="Textfeld 56">
              <a:extLst>
                <a:ext uri="{FF2B5EF4-FFF2-40B4-BE49-F238E27FC236}">
                  <a16:creationId xmlns:a16="http://schemas.microsoft.com/office/drawing/2014/main" id="{CD3D61B3-ECAF-4914-C816-D991A337A81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27888" y="1851422"/>
              <a:ext cx="934139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1.</a:t>
              </a:r>
            </a:p>
          </p:txBody>
        </p: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88E2BBCB-4F30-78AC-0D4D-91247114AAE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987845" y="4738312"/>
              <a:ext cx="934139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Contract and Commercial Management </a:t>
              </a:r>
            </a:p>
          </p:txBody>
        </p:sp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A767969B-E025-BDEA-B832-7D4C774DEE9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987845" y="4464763"/>
              <a:ext cx="934139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4.</a:t>
              </a:r>
            </a:p>
          </p:txBody>
        </p:sp>
        <p:sp>
          <p:nvSpPr>
            <p:cNvPr id="56" name="Textfeld 51">
              <a:extLst>
                <a:ext uri="{FF2B5EF4-FFF2-40B4-BE49-F238E27FC236}">
                  <a16:creationId xmlns:a16="http://schemas.microsoft.com/office/drawing/2014/main" id="{A47A53F5-3EEA-E7F9-983F-566EEAE7233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073980" y="3227978"/>
              <a:ext cx="9028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st Management</a:t>
              </a:r>
            </a:p>
          </p:txBody>
        </p:sp>
        <p:sp>
          <p:nvSpPr>
            <p:cNvPr id="57" name="Textfeld 52">
              <a:extLst>
                <a:ext uri="{FF2B5EF4-FFF2-40B4-BE49-F238E27FC236}">
                  <a16:creationId xmlns:a16="http://schemas.microsoft.com/office/drawing/2014/main" id="{87C4203D-DEF0-930D-6711-3856FAEE70F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078812" y="2934765"/>
              <a:ext cx="722832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2.</a:t>
              </a:r>
            </a:p>
          </p:txBody>
        </p:sp>
        <p:sp>
          <p:nvSpPr>
            <p:cNvPr id="58" name="Textfeld 49">
              <a:extLst>
                <a:ext uri="{FF2B5EF4-FFF2-40B4-BE49-F238E27FC236}">
                  <a16:creationId xmlns:a16="http://schemas.microsoft.com/office/drawing/2014/main" id="{D25DAAF1-8348-3F70-2DA5-ABC9FEF0450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742989" y="2352619"/>
              <a:ext cx="799724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ew Initiatives</a:t>
              </a:r>
            </a:p>
          </p:txBody>
        </p:sp>
        <p:sp>
          <p:nvSpPr>
            <p:cNvPr id="59" name="Textfeld 50">
              <a:extLst>
                <a:ext uri="{FF2B5EF4-FFF2-40B4-BE49-F238E27FC236}">
                  <a16:creationId xmlns:a16="http://schemas.microsoft.com/office/drawing/2014/main" id="{C2B8C708-E5B8-31E6-94F7-08F15043E69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742989" y="2059406"/>
              <a:ext cx="722832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6.</a:t>
              </a:r>
            </a:p>
          </p:txBody>
        </p:sp>
        <p:sp>
          <p:nvSpPr>
            <p:cNvPr id="60" name="TextBox 20">
              <a:extLst>
                <a:ext uri="{FF2B5EF4-FFF2-40B4-BE49-F238E27FC236}">
                  <a16:creationId xmlns:a16="http://schemas.microsoft.com/office/drawing/2014/main" id="{2197A697-3A35-F530-BF2A-912C17EB9500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5355245" y="3278431"/>
              <a:ext cx="1350357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2856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  <a:sym typeface="Futura"/>
                </a:rPr>
                <a:t>Development Advisory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6BA6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Futura"/>
              </a:endParaRPr>
            </a:p>
          </p:txBody>
        </p:sp>
        <p:sp>
          <p:nvSpPr>
            <p:cNvPr id="61" name="Textfeld 43">
              <a:extLst>
                <a:ext uri="{FF2B5EF4-FFF2-40B4-BE49-F238E27FC236}">
                  <a16:creationId xmlns:a16="http://schemas.microsoft.com/office/drawing/2014/main" id="{0C372E4F-1016-7E7A-857C-AAF6036CA27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442182" y="4702259"/>
              <a:ext cx="953802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sset Management</a:t>
              </a:r>
            </a:p>
          </p:txBody>
        </p:sp>
        <p:sp>
          <p:nvSpPr>
            <p:cNvPr id="62" name="Textfeld 44">
              <a:extLst>
                <a:ext uri="{FF2B5EF4-FFF2-40B4-BE49-F238E27FC236}">
                  <a16:creationId xmlns:a16="http://schemas.microsoft.com/office/drawing/2014/main" id="{80905BF8-5836-88FF-06B2-E816495131C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488108" y="4409046"/>
              <a:ext cx="722832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3.</a:t>
              </a:r>
            </a:p>
          </p:txBody>
        </p:sp>
        <p:sp>
          <p:nvSpPr>
            <p:cNvPr id="63" name="Textfeld 45">
              <a:extLst>
                <a:ext uri="{FF2B5EF4-FFF2-40B4-BE49-F238E27FC236}">
                  <a16:creationId xmlns:a16="http://schemas.microsoft.com/office/drawing/2014/main" id="{0BF33277-3327-7C5C-17AC-BA4F816298A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06691" y="3387707"/>
              <a:ext cx="1119590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ject Management and PMO Support</a:t>
              </a:r>
            </a:p>
          </p:txBody>
        </p:sp>
        <p:sp>
          <p:nvSpPr>
            <p:cNvPr id="64" name="Textfeld 46">
              <a:extLst>
                <a:ext uri="{FF2B5EF4-FFF2-40B4-BE49-F238E27FC236}">
                  <a16:creationId xmlns:a16="http://schemas.microsoft.com/office/drawing/2014/main" id="{8C8711EF-2410-1A6D-8520-B33FA9A65B3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67519" y="3094612"/>
              <a:ext cx="934139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5.</a:t>
              </a:r>
            </a:p>
          </p:txBody>
        </p:sp>
      </p:grpSp>
      <p:sp>
        <p:nvSpPr>
          <p:cNvPr id="66" name="Rectangle 3">
            <a:extLst>
              <a:ext uri="{FF2B5EF4-FFF2-40B4-BE49-F238E27FC236}">
                <a16:creationId xmlns:a16="http://schemas.microsoft.com/office/drawing/2014/main" id="{A38B44F5-0E1F-0EE2-C3AE-B9DDC69A43CE}"/>
              </a:ext>
            </a:extLst>
          </p:cNvPr>
          <p:cNvSpPr>
            <a:spLocks/>
          </p:cNvSpPr>
          <p:nvPr/>
        </p:nvSpPr>
        <p:spPr bwMode="gray">
          <a:xfrm>
            <a:off x="455956" y="1500653"/>
            <a:ext cx="3681275" cy="14362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Establishment of PMO/TMO for strategic initiatives and investments</a:t>
            </a:r>
          </a:p>
          <a:p>
            <a:pPr marL="171450" marR="0" lvl="0" indent="-171450" algn="l" defTabSz="9144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ontract &amp; MoU Advisory Support + Design and Execution of a Capital Mobilization</a:t>
            </a:r>
          </a:p>
          <a:p>
            <a:pPr marL="171450" marR="0" lvl="0" indent="-171450" algn="l" defTabSz="9144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Early-Stage Market Engagement &amp; Private Sector Positioning Digitalization </a:t>
            </a:r>
          </a:p>
          <a:p>
            <a:pPr marL="171450" marR="0" lvl="0" indent="-171450" algn="l" defTabSz="9144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upport for Infrastructure Lifecycle Management </a:t>
            </a:r>
          </a:p>
          <a:p>
            <a:pPr marL="171450" marR="0" lvl="0" indent="-171450" algn="l" defTabSz="9144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High-Level Capacity Development Planning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65" name="Rectangle 3">
            <a:extLst>
              <a:ext uri="{FF2B5EF4-FFF2-40B4-BE49-F238E27FC236}">
                <a16:creationId xmlns:a16="http://schemas.microsoft.com/office/drawing/2014/main" id="{572BE283-2717-AEA3-DF59-323979E88268}"/>
              </a:ext>
            </a:extLst>
          </p:cNvPr>
          <p:cNvSpPr>
            <a:spLocks/>
          </p:cNvSpPr>
          <p:nvPr/>
        </p:nvSpPr>
        <p:spPr bwMode="gray">
          <a:xfrm>
            <a:off x="600131" y="1174095"/>
            <a:ext cx="2892459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BA6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New Initiatives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6BA6"/>
              </a:solidFill>
              <a:effectLst/>
              <a:uLnTx/>
              <a:uFillTx/>
              <a:latin typeface="Calibri" panose="020F0502020204030204"/>
              <a:ea typeface="Verdana" pitchFamily="34" charset="0"/>
              <a:cs typeface="+mn-cs"/>
            </a:endParaRPr>
          </a:p>
        </p:txBody>
      </p:sp>
      <p:sp>
        <p:nvSpPr>
          <p:cNvPr id="68" name="Rectangle 3">
            <a:extLst>
              <a:ext uri="{FF2B5EF4-FFF2-40B4-BE49-F238E27FC236}">
                <a16:creationId xmlns:a16="http://schemas.microsoft.com/office/drawing/2014/main" id="{B9F0F9AD-ABB1-8560-AE5E-E2F00C65286C}"/>
              </a:ext>
            </a:extLst>
          </p:cNvPr>
          <p:cNvSpPr>
            <a:spLocks/>
          </p:cNvSpPr>
          <p:nvPr/>
        </p:nvSpPr>
        <p:spPr bwMode="gray">
          <a:xfrm>
            <a:off x="8233695" y="1663845"/>
            <a:ext cx="3707483" cy="22159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omplete transaction managemen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Battery Limits &amp; Interface Clar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evelopment Status Verification – assess and identify red flag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eal Structuring Advisory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(Buy/Sell Side)- risks, milestones, assumptions and support valu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ommercial &amp; Contractual Risk Review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ost-Transaction Development Support - CPs, timelines, and stakeholder alignment.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Libre Franklin Medium" panose="00000600000000000000" pitchFamily="2" charset="0"/>
              </a:rPr>
              <a:t>Project Configuration &amp; Technology Selec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O&amp;M Advisory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  <a:sym typeface="Libre Franklin Medium" panose="00000600000000000000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67" name="Rectangle 3">
            <a:extLst>
              <a:ext uri="{FF2B5EF4-FFF2-40B4-BE49-F238E27FC236}">
                <a16:creationId xmlns:a16="http://schemas.microsoft.com/office/drawing/2014/main" id="{CF2FFB35-8967-E843-52A8-44AF991BCBB3}"/>
              </a:ext>
            </a:extLst>
          </p:cNvPr>
          <p:cNvSpPr>
            <a:spLocks/>
          </p:cNvSpPr>
          <p:nvPr/>
        </p:nvSpPr>
        <p:spPr bwMode="gray">
          <a:xfrm>
            <a:off x="8233695" y="1174095"/>
            <a:ext cx="3958305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BA6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evelopment &amp; Transaction Advisory for New Projects and M&amp;A transaction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6BA6"/>
              </a:solidFill>
              <a:effectLst/>
              <a:uLnTx/>
              <a:uFillTx/>
              <a:latin typeface="Calibri" panose="020F0502020204030204"/>
              <a:ea typeface="Verdana" pitchFamily="34" charset="0"/>
              <a:cs typeface="+mn-cs"/>
            </a:endParaRPr>
          </a:p>
        </p:txBody>
      </p:sp>
      <p:sp>
        <p:nvSpPr>
          <p:cNvPr id="69" name="Rectangle 3">
            <a:extLst>
              <a:ext uri="{FF2B5EF4-FFF2-40B4-BE49-F238E27FC236}">
                <a16:creationId xmlns:a16="http://schemas.microsoft.com/office/drawing/2014/main" id="{D2A15867-B814-EA86-3D25-527E55F71036}"/>
              </a:ext>
            </a:extLst>
          </p:cNvPr>
          <p:cNvSpPr>
            <a:spLocks/>
          </p:cNvSpPr>
          <p:nvPr/>
        </p:nvSpPr>
        <p:spPr bwMode="gray">
          <a:xfrm>
            <a:off x="532729" y="4963058"/>
            <a:ext cx="4571963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BA6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ontract and Commercial Manageme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6BA6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70" name="Rectangle 3">
            <a:extLst>
              <a:ext uri="{FF2B5EF4-FFF2-40B4-BE49-F238E27FC236}">
                <a16:creationId xmlns:a16="http://schemas.microsoft.com/office/drawing/2014/main" id="{4B08D8A3-1280-7082-6210-1BA9B5E23EC2}"/>
              </a:ext>
            </a:extLst>
          </p:cNvPr>
          <p:cNvSpPr>
            <a:spLocks/>
          </p:cNvSpPr>
          <p:nvPr/>
        </p:nvSpPr>
        <p:spPr bwMode="gray">
          <a:xfrm>
            <a:off x="464387" y="5149915"/>
            <a:ext cx="7345687" cy="11079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numCol="2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upport regulatory and statutory consulta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Advise on project agreement structuring and negotia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Review and guide bid submissions and documentation while orchestrating bidding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Negotiate key contracts: PPA/ECA, EPC, O&amp;M, LTSA, PSIA, Ancillary Agreeme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Facilitate PDA, JDA, JVA, and SLA execu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ovide input on Usufruct and land use agreeme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oject Agreements alignment </a:t>
            </a:r>
          </a:p>
        </p:txBody>
      </p:sp>
      <p:sp>
        <p:nvSpPr>
          <p:cNvPr id="71" name="Rectangle 3">
            <a:extLst>
              <a:ext uri="{FF2B5EF4-FFF2-40B4-BE49-F238E27FC236}">
                <a16:creationId xmlns:a16="http://schemas.microsoft.com/office/drawing/2014/main" id="{766B79D5-3226-F599-F818-4F46A86AEC78}"/>
              </a:ext>
            </a:extLst>
          </p:cNvPr>
          <p:cNvSpPr>
            <a:spLocks/>
          </p:cNvSpPr>
          <p:nvPr/>
        </p:nvSpPr>
        <p:spPr bwMode="gray">
          <a:xfrm>
            <a:off x="532729" y="3048058"/>
            <a:ext cx="3517193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BA6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oject Management and PMO Support</a:t>
            </a:r>
          </a:p>
        </p:txBody>
      </p:sp>
      <p:sp>
        <p:nvSpPr>
          <p:cNvPr id="73" name="Rectangle 3">
            <a:extLst>
              <a:ext uri="{FF2B5EF4-FFF2-40B4-BE49-F238E27FC236}">
                <a16:creationId xmlns:a16="http://schemas.microsoft.com/office/drawing/2014/main" id="{9B0BB753-3AE3-E2F4-319B-0E362041B948}"/>
              </a:ext>
            </a:extLst>
          </p:cNvPr>
          <p:cNvSpPr>
            <a:spLocks/>
          </p:cNvSpPr>
          <p:nvPr/>
        </p:nvSpPr>
        <p:spPr bwMode="gray">
          <a:xfrm>
            <a:off x="8233695" y="3938699"/>
            <a:ext cx="2892459" cy="1828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BA6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ost Managemen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6BA6"/>
              </a:solidFill>
              <a:effectLst/>
              <a:uLnTx/>
              <a:uFillTx/>
              <a:latin typeface="Calibri" panose="020F0502020204030204"/>
              <a:ea typeface="Verdana" pitchFamily="34" charset="0"/>
              <a:cs typeface="+mn-cs"/>
            </a:endParaRPr>
          </a:p>
        </p:txBody>
      </p:sp>
      <p:sp>
        <p:nvSpPr>
          <p:cNvPr id="74" name="Rectangle 3">
            <a:extLst>
              <a:ext uri="{FF2B5EF4-FFF2-40B4-BE49-F238E27FC236}">
                <a16:creationId xmlns:a16="http://schemas.microsoft.com/office/drawing/2014/main" id="{2A29C907-0F1F-C643-7A7A-3F2842C8A48E}"/>
              </a:ext>
            </a:extLst>
          </p:cNvPr>
          <p:cNvSpPr>
            <a:spLocks/>
          </p:cNvSpPr>
          <p:nvPr/>
        </p:nvSpPr>
        <p:spPr bwMode="gray">
          <a:xfrm>
            <a:off x="8233695" y="4180442"/>
            <a:ext cx="3707483" cy="12926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Benchmarking and Quantitative analysis 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ost planning, budgeting and estimation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,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tructuring, Phasing and Audits 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laims Management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ocurement strategy and advice, Cash flow forecasting, Change order management, Final account settlement, Contract Closures</a:t>
            </a:r>
          </a:p>
        </p:txBody>
      </p:sp>
      <p:sp>
        <p:nvSpPr>
          <p:cNvPr id="75" name="Rectangle 3">
            <a:extLst>
              <a:ext uri="{FF2B5EF4-FFF2-40B4-BE49-F238E27FC236}">
                <a16:creationId xmlns:a16="http://schemas.microsoft.com/office/drawing/2014/main" id="{B563E1E3-D005-245D-A18F-D783B9C783D8}"/>
              </a:ext>
            </a:extLst>
          </p:cNvPr>
          <p:cNvSpPr>
            <a:spLocks/>
          </p:cNvSpPr>
          <p:nvPr/>
        </p:nvSpPr>
        <p:spPr bwMode="gray">
          <a:xfrm>
            <a:off x="8233695" y="5531967"/>
            <a:ext cx="2892459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6BA6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Asset managemen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6BA6"/>
              </a:solidFill>
              <a:effectLst/>
              <a:uLnTx/>
              <a:uFillTx/>
              <a:latin typeface="Calibri" panose="020F0502020204030204"/>
              <a:ea typeface="Verdana" pitchFamily="34" charset="0"/>
              <a:cs typeface="+mn-cs"/>
            </a:endParaRPr>
          </a:p>
        </p:txBody>
      </p:sp>
      <p:sp>
        <p:nvSpPr>
          <p:cNvPr id="76" name="Rectangle 3">
            <a:extLst>
              <a:ext uri="{FF2B5EF4-FFF2-40B4-BE49-F238E27FC236}">
                <a16:creationId xmlns:a16="http://schemas.microsoft.com/office/drawing/2014/main" id="{A1E91C44-541C-FDF6-D3A5-E81E344B20CE}"/>
              </a:ext>
            </a:extLst>
          </p:cNvPr>
          <p:cNvSpPr>
            <a:spLocks/>
          </p:cNvSpPr>
          <p:nvPr/>
        </p:nvSpPr>
        <p:spPr bwMode="gray">
          <a:xfrm>
            <a:off x="8233695" y="5945972"/>
            <a:ext cx="3775922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Implementation and Operational Development 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Financial and non-financial analysis 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Reporting , Optimization, Mapping cross functions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B0DCFB56-F537-183C-0D12-DE937020175D}"/>
              </a:ext>
            </a:extLst>
          </p:cNvPr>
          <p:cNvSpPr>
            <a:spLocks/>
          </p:cNvSpPr>
          <p:nvPr/>
        </p:nvSpPr>
        <p:spPr bwMode="gray">
          <a:xfrm>
            <a:off x="455956" y="3374616"/>
            <a:ext cx="3516321" cy="14773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evelopment Plan,  WBS Formulation, Critical Path, Communications management </a:t>
            </a: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oject execution monitoring &amp; Risk allocation and mitigation measures, Issue management</a:t>
            </a: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Govern transactions for client for development period till financial close achievement as well as during implementation and construction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elivery management among all advisor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DE329B2-3847-CC87-4433-E2E44A9CEEBD}"/>
              </a:ext>
            </a:extLst>
          </p:cNvPr>
          <p:cNvSpPr txBox="1">
            <a:spLocks/>
          </p:cNvSpPr>
          <p:nvPr/>
        </p:nvSpPr>
        <p:spPr bwMode="auto">
          <a:xfrm>
            <a:off x="593724" y="757360"/>
            <a:ext cx="10224964" cy="468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lang="en-GB" sz="2400" b="1" kern="1200">
                <a:solidFill>
                  <a:schemeClr val="accent1"/>
                </a:solidFill>
                <a:latin typeface="Franklin Gothic Book" panose="020B0503020102020204" pitchFamily="34" charset="0"/>
                <a:ea typeface="+mj-ea"/>
                <a:cs typeface="+mj-cs"/>
              </a:defRPr>
            </a:lvl1pPr>
            <a:lvl2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2pPr>
            <a:lvl3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3pPr>
            <a:lvl4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4pPr>
            <a:lvl5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5pPr>
            <a:lvl6pPr marL="4572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6pPr>
            <a:lvl7pPr marL="9144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7pPr>
            <a:lvl8pPr marL="13716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8pPr>
            <a:lvl9pPr marL="18288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9pPr>
          </a:lstStyle>
          <a:p>
            <a:pPr marL="0" marR="0" lvl="0" indent="0" algn="l" defTabSz="91281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80C22E"/>
                </a:solidFill>
                <a:latin typeface="+mj-lt"/>
              </a:rPr>
              <a:t>SERVICE PROFI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32EDF08-6583-95B5-7124-5C3E91D7C2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772" y="440823"/>
            <a:ext cx="8287882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lang="en-GB" sz="2400" b="1" kern="1200">
                <a:solidFill>
                  <a:schemeClr val="accent1"/>
                </a:solidFill>
                <a:latin typeface="Franklin Gothic Book" panose="020B0503020102020204" pitchFamily="34" charset="0"/>
                <a:ea typeface="+mj-ea"/>
                <a:cs typeface="+mj-cs"/>
              </a:defRPr>
            </a:lvl1pPr>
            <a:lvl2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2pPr>
            <a:lvl3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3pPr>
            <a:lvl4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4pPr>
            <a:lvl5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5pPr>
            <a:lvl6pPr marL="4572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6pPr>
            <a:lvl7pPr marL="9144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7pPr>
            <a:lvl8pPr marL="13716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8pPr>
            <a:lvl9pPr marL="18288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6BA6"/>
                </a:solidFill>
                <a:effectLst/>
                <a:uLnTx/>
                <a:uFillTx/>
                <a:latin typeface="Franklin Gothic Medium" panose="020B0603020102020204"/>
                <a:ea typeface="+mj-ea"/>
                <a:cs typeface="+mj-cs"/>
                <a:sym typeface="Libre Franklin"/>
              </a:rPr>
              <a:t>CAPABILITY STATEMENT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006BA6"/>
              </a:solidFill>
              <a:effectLst/>
              <a:uLnTx/>
              <a:uFillTx/>
              <a:latin typeface="Franklin Gothic Medium" panose="020B0603020102020204"/>
              <a:ea typeface="+mj-ea"/>
              <a:cs typeface="+mj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CE955A1-9E44-C982-42B1-F63AE6948F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40203" y="53552"/>
            <a:ext cx="1600975" cy="9729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10C9B07-DD5C-932E-C501-9E5864D9EE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24257" y="6030570"/>
            <a:ext cx="1143093" cy="69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7543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7E5FC1-2E2F-C419-F0C5-D6F8840D8B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7E5FC1-2E2F-C419-F0C5-D6F8840D8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4" y="757360"/>
            <a:ext cx="8930419" cy="468821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rgbClr val="80C22E"/>
                </a:solidFill>
                <a:latin typeface="+mj-lt"/>
              </a:rPr>
              <a:t>Key Service Offerings for Infrastructure Development Mandates 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FD4F69E2-5549-4AE3-8F2E-5D8CCB11BA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0813" y="1804846"/>
            <a:ext cx="5394959" cy="159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70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4556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681038" indent="-22383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9128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1144588" indent="-23018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16017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0589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25161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29733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Support the clients in evaluating, clarifying, and negotiating trade-offs across possible concept(s) &amp; evaluation of options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Ideation on proposals, and the realization of abstract arrangement/solutions to optimize configuration(s) to suit the client’s / off-takers end needs 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Selection of advisors (technical, Pre-FEED, FEED,  commercial, ESIA, consenting, development &amp; feasibility studies) by running a competitive bidding process on behalf of the client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Configuration impact assessment and associated tie-in evaluation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Future readiness definitions and requirement mapping.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Review with the client’s technical advisor regarding project updates or changes and assist to implement the impacts in the financial documents   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Libre Franklin"/>
              <a:cs typeface="Libre Franklin"/>
              <a:sym typeface="Libre Franklin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  <a:sym typeface="Libre Franklin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  <a:sym typeface="Libre Franklin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Libre Franklin" panose="00000500000000000000" pitchFamily="2" charset="0"/>
              <a:cs typeface="Libre Franklin" panose="00000500000000000000" pitchFamily="2" charset="0"/>
              <a:sym typeface="Libre Franklin" panose="00000500000000000000" pitchFamily="2" charset="0"/>
            </a:endParaRPr>
          </a:p>
        </p:txBody>
      </p:sp>
      <p:grpSp>
        <p:nvGrpSpPr>
          <p:cNvPr id="8" name="Group 28">
            <a:extLst>
              <a:ext uri="{FF2B5EF4-FFF2-40B4-BE49-F238E27FC236}">
                <a16:creationId xmlns:a16="http://schemas.microsoft.com/office/drawing/2014/main" id="{3942DEDF-9737-406F-8012-AF181D1CED1A}"/>
              </a:ext>
            </a:extLst>
          </p:cNvPr>
          <p:cNvGrpSpPr>
            <a:grpSpLocks/>
          </p:cNvGrpSpPr>
          <p:nvPr/>
        </p:nvGrpSpPr>
        <p:grpSpPr bwMode="auto">
          <a:xfrm>
            <a:off x="6754007" y="1485900"/>
            <a:ext cx="4808894" cy="302207"/>
            <a:chOff x="1490417" y="3912150"/>
            <a:chExt cx="4808338" cy="302574"/>
          </a:xfrm>
        </p:grpSpPr>
        <p:sp>
          <p:nvSpPr>
            <p:cNvPr id="9" name="Rectangle 87">
              <a:extLst>
                <a:ext uri="{FF2B5EF4-FFF2-40B4-BE49-F238E27FC236}">
                  <a16:creationId xmlns:a16="http://schemas.microsoft.com/office/drawing/2014/main" id="{42E299B7-0B73-45B8-961C-7F3E20BB7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640" y="3912150"/>
              <a:ext cx="4345046" cy="277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  <a:sym typeface="Libre Franklin Medium" panose="00000600000000000000" pitchFamily="2" charset="0"/>
                </a:rPr>
                <a:t>Project Configuration &amp; Technology Selection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937CB1DE-A2A2-42B4-B19B-EAD253881CED}"/>
                </a:ext>
              </a:extLst>
            </p:cNvPr>
            <p:cNvCxnSpPr>
              <a:cxnSpLocks/>
            </p:cNvCxnSpPr>
            <p:nvPr/>
          </p:nvCxnSpPr>
          <p:spPr>
            <a:xfrm>
              <a:off x="1490417" y="4189352"/>
              <a:ext cx="4808338" cy="25372"/>
            </a:xfrm>
            <a:prstGeom prst="line">
              <a:avLst/>
            </a:prstGeom>
            <a:solidFill>
              <a:schemeClr val="accent3"/>
            </a:solidFill>
            <a:ln w="317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28">
            <a:extLst>
              <a:ext uri="{FF2B5EF4-FFF2-40B4-BE49-F238E27FC236}">
                <a16:creationId xmlns:a16="http://schemas.microsoft.com/office/drawing/2014/main" id="{B4ADDCB9-0034-A5EF-EB37-68986E9C42C8}"/>
              </a:ext>
            </a:extLst>
          </p:cNvPr>
          <p:cNvGrpSpPr>
            <a:grpSpLocks/>
          </p:cNvGrpSpPr>
          <p:nvPr/>
        </p:nvGrpSpPr>
        <p:grpSpPr bwMode="auto">
          <a:xfrm>
            <a:off x="1023721" y="1485900"/>
            <a:ext cx="4951743" cy="311739"/>
            <a:chOff x="1479446" y="3912150"/>
            <a:chExt cx="4951167" cy="312118"/>
          </a:xfrm>
        </p:grpSpPr>
        <p:sp>
          <p:nvSpPr>
            <p:cNvPr id="11" name="Rectangle 87">
              <a:extLst>
                <a:ext uri="{FF2B5EF4-FFF2-40B4-BE49-F238E27FC236}">
                  <a16:creationId xmlns:a16="http://schemas.microsoft.com/office/drawing/2014/main" id="{0112C600-0A8E-2462-45B3-E3383970C8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9446" y="3912150"/>
              <a:ext cx="4951167" cy="277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  <a:sym typeface="Libre Franklin Medium" panose="00000600000000000000" pitchFamily="2" charset="0"/>
                </a:rPr>
                <a:t>Development </a:t>
              </a:r>
              <a:r>
                <a:rPr kumimoji="0" lang="en-US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Libre Franklin Medium" pitchFamily="2" charset="0"/>
                  <a:cs typeface="Libre Franklin Medium" pitchFamily="2" charset="0"/>
                  <a:sym typeface="Libre Franklin Medium" pitchFamily="2" charset="0"/>
                </a:rPr>
                <a:t>(Pre + Active) </a:t>
              </a:r>
              <a:r>
                <a:rPr kumimoji="0" lang="en-US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  <a:sym typeface="Libre Franklin Medium" panose="00000600000000000000" pitchFamily="2" charset="0"/>
                </a:rPr>
                <a:t>&amp; Transaction Advisory 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F00F6285-E3C9-5A62-5FE6-CCC4F7F93C9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82837" y="4214723"/>
              <a:ext cx="4815918" cy="9545"/>
            </a:xfrm>
            <a:prstGeom prst="line">
              <a:avLst/>
            </a:prstGeom>
            <a:solidFill>
              <a:schemeClr val="accent3"/>
            </a:solidFill>
            <a:ln w="317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90C8FDFF-F003-0C3F-4801-D3E944292F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1500" y="1838403"/>
            <a:ext cx="5241925" cy="2237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70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4556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681038" indent="-22383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9128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1144588" indent="-23018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16017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0589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25161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29733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Management of complete transactions, project planning, project scheduling, timeline and execution, preparation of development budget and evaluation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Offtake Evaluation for the envisaged utility generation asset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Developing strategy for project implementation and execution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Assist client in discussion and negotiation with advisors or any 3rd party with regards to engineering and design, execution, controlling, and monitoring till project closure including EPC, O&amp;M, LTSA provider selection, tendering process, or any feasibility studies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Ensure alignment of technical, financial, and commercial terms and conditions across all project documents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Libre Franklin"/>
              <a:cs typeface="Libre Franklin"/>
              <a:sym typeface="Libre Franklin"/>
            </a:endParaRPr>
          </a:p>
        </p:txBody>
      </p:sp>
      <p:pic>
        <p:nvPicPr>
          <p:cNvPr id="2050" name="Picture 2" descr="Software Development Logo | Web development logo, Coding logo, Logo software">
            <a:extLst>
              <a:ext uri="{FF2B5EF4-FFF2-40B4-BE49-F238E27FC236}">
                <a16:creationId xmlns:a16="http://schemas.microsoft.com/office/drawing/2014/main" id="{C0DA5D23-5FC3-E7C2-AC89-994C96625F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22" t="18286" r="26750" b="15404"/>
          <a:stretch/>
        </p:blipFill>
        <p:spPr bwMode="auto">
          <a:xfrm>
            <a:off x="621021" y="1398236"/>
            <a:ext cx="425522" cy="462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onfiguration Logo Stock Illustrations – 4,201 Configuration Logo Stock  Illustrations, Vectors &amp; Clipart - Dreamstime">
            <a:extLst>
              <a:ext uri="{FF2B5EF4-FFF2-40B4-BE49-F238E27FC236}">
                <a16:creationId xmlns:a16="http://schemas.microsoft.com/office/drawing/2014/main" id="{C986AAAE-977C-55A6-EC9E-A9A2BA6E00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0" t="16740" r="16679" b="21481"/>
          <a:stretch/>
        </p:blipFill>
        <p:spPr bwMode="auto">
          <a:xfrm>
            <a:off x="6452746" y="1387012"/>
            <a:ext cx="399372" cy="40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37DF4B7C-5AAE-75C9-5278-97A39F92D0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3725" y="4446943"/>
            <a:ext cx="5230075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70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4556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681038" indent="-22383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9128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1144588" indent="-23018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16017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0589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25161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29733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Advise on the O&amp;M design and development from a commercial and structural perspective paving way for o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  <a:sym typeface="Libre Franklin"/>
              </a:rPr>
              <a:t>rganizational structure for the O&amp;M company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Coordinate with the plant management and other advisors in the preparation of an optimal competitive O&amp;M Plan for each of the power plants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Assist clients in ensuring the transaction is developed and operated in accordance with the standards of a reasonable and prudent operator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  <a:sym typeface="Libre Franklin"/>
              </a:rPr>
              <a:t>Coordinate with client and other advisors to prepare O&amp;M budget/costing models and suggest potential cost optimization strategies, including benchmarking of costs with relevant precedents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  <a:sym typeface="Libre Franklin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Libre Franklin" panose="00000500000000000000" pitchFamily="2" charset="0"/>
              <a:cs typeface="Libre Franklin" panose="00000500000000000000" pitchFamily="2" charset="0"/>
              <a:sym typeface="Libre Franklin" panose="00000500000000000000" pitchFamily="2" charset="0"/>
            </a:endParaRPr>
          </a:p>
        </p:txBody>
      </p:sp>
      <p:grpSp>
        <p:nvGrpSpPr>
          <p:cNvPr id="46" name="Group 28">
            <a:extLst>
              <a:ext uri="{FF2B5EF4-FFF2-40B4-BE49-F238E27FC236}">
                <a16:creationId xmlns:a16="http://schemas.microsoft.com/office/drawing/2014/main" id="{611DF4A4-A382-AE2B-AD17-908F5FD6BB96}"/>
              </a:ext>
            </a:extLst>
          </p:cNvPr>
          <p:cNvGrpSpPr>
            <a:grpSpLocks/>
          </p:cNvGrpSpPr>
          <p:nvPr/>
        </p:nvGrpSpPr>
        <p:grpSpPr bwMode="auto">
          <a:xfrm>
            <a:off x="1046543" y="4076073"/>
            <a:ext cx="4808894" cy="302207"/>
            <a:chOff x="1490417" y="3912150"/>
            <a:chExt cx="4808338" cy="302574"/>
          </a:xfrm>
        </p:grpSpPr>
        <p:sp>
          <p:nvSpPr>
            <p:cNvPr id="47" name="Rectangle 87">
              <a:extLst>
                <a:ext uri="{FF2B5EF4-FFF2-40B4-BE49-F238E27FC236}">
                  <a16:creationId xmlns:a16="http://schemas.microsoft.com/office/drawing/2014/main" id="{FBC6DC96-AF88-10D8-43EF-489C378AD8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640" y="3912150"/>
              <a:ext cx="1355792" cy="277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  <a:sym typeface="Libre Franklin Medium" panose="00000600000000000000" pitchFamily="2" charset="0"/>
                </a:rPr>
                <a:t>O&amp;M Advisory</a:t>
              </a:r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5957333-1860-640D-28A9-7DE99A911E0E}"/>
                </a:ext>
              </a:extLst>
            </p:cNvPr>
            <p:cNvCxnSpPr>
              <a:cxnSpLocks/>
            </p:cNvCxnSpPr>
            <p:nvPr/>
          </p:nvCxnSpPr>
          <p:spPr>
            <a:xfrm>
              <a:off x="1490417" y="4189352"/>
              <a:ext cx="4808338" cy="25372"/>
            </a:xfrm>
            <a:prstGeom prst="line">
              <a:avLst/>
            </a:prstGeom>
            <a:solidFill>
              <a:schemeClr val="accent3"/>
            </a:solidFill>
            <a:ln w="317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Picture 8" descr="https://cdn-icons-png.flaticon.com/512/6715/6715888.png">
            <a:extLst>
              <a:ext uri="{FF2B5EF4-FFF2-40B4-BE49-F238E27FC236}">
                <a16:creationId xmlns:a16="http://schemas.microsoft.com/office/drawing/2014/main" id="{4BE93A4C-72C4-1F21-7FF1-FDFA0F4168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842" y="3947249"/>
            <a:ext cx="450266" cy="450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Content Placeholder 3">
            <a:extLst>
              <a:ext uri="{FF2B5EF4-FFF2-40B4-BE49-F238E27FC236}">
                <a16:creationId xmlns:a16="http://schemas.microsoft.com/office/drawing/2014/main" id="{2B9D58B6-E8A3-1BC8-0A63-50759465A0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0814" y="4459172"/>
            <a:ext cx="5394960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70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4556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681038" indent="-22383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9128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1144588" indent="-23018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16017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0589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25161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29733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Orchestrate delivery management among all advisors, ensuring that the conceived outputs are monitored and evaluated to ascertain that deliverables meet the required &amp; acceptable quality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Project execution monitoring &amp; risk management, dashboard management &amp; update, cross-functional coordination with project site integration and management 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  <a:sym typeface="Libre Franklin"/>
              </a:rPr>
              <a:t>Govern transactions for client organization by establishing and driving PMO on the client’s behalf.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 Prepare, manage and monitor schedules, plan vs actual, work breakdown structure, project s-curve, risk register, budget, and expense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Advice on procurement, development strategy and project-related site services to support the development and operation of the plant 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  <a:sym typeface="Libre Franklin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  <a:sym typeface="Libre Franklin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Libre Franklin" panose="00000500000000000000" pitchFamily="2" charset="0"/>
              <a:cs typeface="Libre Franklin" panose="00000500000000000000" pitchFamily="2" charset="0"/>
              <a:sym typeface="Libre Franklin" panose="00000500000000000000" pitchFamily="2" charset="0"/>
            </a:endParaRPr>
          </a:p>
        </p:txBody>
      </p:sp>
      <p:grpSp>
        <p:nvGrpSpPr>
          <p:cNvPr id="51" name="Group 28">
            <a:extLst>
              <a:ext uri="{FF2B5EF4-FFF2-40B4-BE49-F238E27FC236}">
                <a16:creationId xmlns:a16="http://schemas.microsoft.com/office/drawing/2014/main" id="{F30824B9-CC5D-84C5-F609-FE6A8BFD2030}"/>
              </a:ext>
            </a:extLst>
          </p:cNvPr>
          <p:cNvGrpSpPr>
            <a:grpSpLocks/>
          </p:cNvGrpSpPr>
          <p:nvPr/>
        </p:nvGrpSpPr>
        <p:grpSpPr bwMode="auto">
          <a:xfrm>
            <a:off x="6852117" y="4076078"/>
            <a:ext cx="4808894" cy="276999"/>
            <a:chOff x="1490417" y="3912150"/>
            <a:chExt cx="4808338" cy="277335"/>
          </a:xfrm>
        </p:grpSpPr>
        <p:sp>
          <p:nvSpPr>
            <p:cNvPr id="52" name="Rectangle 87">
              <a:extLst>
                <a:ext uri="{FF2B5EF4-FFF2-40B4-BE49-F238E27FC236}">
                  <a16:creationId xmlns:a16="http://schemas.microsoft.com/office/drawing/2014/main" id="{CEEB0300-1472-26D9-26D0-2A2567250F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4903" y="3912150"/>
              <a:ext cx="3811821" cy="277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  <a:sym typeface="Libre Franklin Medium" panose="00000600000000000000" pitchFamily="2" charset="0"/>
                </a:rPr>
                <a:t>Project Management and PMO Support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B0BABB86-400A-A317-7BF7-4A42D6C30687}"/>
                </a:ext>
              </a:extLst>
            </p:cNvPr>
            <p:cNvCxnSpPr>
              <a:cxnSpLocks/>
            </p:cNvCxnSpPr>
            <p:nvPr/>
          </p:nvCxnSpPr>
          <p:spPr>
            <a:xfrm>
              <a:off x="1490417" y="4189352"/>
              <a:ext cx="4808338" cy="0"/>
            </a:xfrm>
            <a:prstGeom prst="line">
              <a:avLst/>
            </a:prstGeom>
            <a:solidFill>
              <a:schemeClr val="accent3"/>
            </a:solidFill>
            <a:ln w="317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4" name="Picture 12" descr="Planning Icon Vector Sign and Symbol Isolated on White Background, Planning  Logo Concept Stock Vector - Illustration of business, graphic: 134155408">
            <a:extLst>
              <a:ext uri="{FF2B5EF4-FFF2-40B4-BE49-F238E27FC236}">
                <a16:creationId xmlns:a16="http://schemas.microsoft.com/office/drawing/2014/main" id="{8BC2F001-E54B-6E74-67DE-09FE431FD7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62" t="18219" r="15321" b="24062"/>
          <a:stretch/>
        </p:blipFill>
        <p:spPr bwMode="auto">
          <a:xfrm>
            <a:off x="6441150" y="3949459"/>
            <a:ext cx="508221" cy="448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742B77ED-BA19-A6E4-CE3B-DE78EBF320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772" y="440823"/>
            <a:ext cx="8287882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lang="en-GB" sz="2400" b="1" kern="1200">
                <a:solidFill>
                  <a:schemeClr val="accent1"/>
                </a:solidFill>
                <a:latin typeface="Franklin Gothic Book" panose="020B0503020102020204" pitchFamily="34" charset="0"/>
                <a:ea typeface="+mj-ea"/>
                <a:cs typeface="+mj-cs"/>
              </a:defRPr>
            </a:lvl1pPr>
            <a:lvl2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2pPr>
            <a:lvl3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3pPr>
            <a:lvl4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4pPr>
            <a:lvl5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5pPr>
            <a:lvl6pPr marL="4572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6pPr>
            <a:lvl7pPr marL="9144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7pPr>
            <a:lvl8pPr marL="13716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8pPr>
            <a:lvl9pPr marL="18288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6BA6"/>
                </a:solidFill>
                <a:effectLst/>
                <a:uLnTx/>
                <a:uFillTx/>
                <a:latin typeface="Franklin Gothic Medium" panose="020B0603020102020204"/>
                <a:ea typeface="+mj-ea"/>
                <a:cs typeface="+mj-cs"/>
                <a:sym typeface="Libre Franklin"/>
              </a:rPr>
              <a:t>CAPABILITY STATEMEN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2998D46-91C0-2A10-77B0-0D69EFBE95F8}"/>
              </a:ext>
            </a:extLst>
          </p:cNvPr>
          <p:cNvGrpSpPr/>
          <p:nvPr/>
        </p:nvGrpSpPr>
        <p:grpSpPr>
          <a:xfrm>
            <a:off x="10818688" y="629083"/>
            <a:ext cx="1277503" cy="393167"/>
            <a:chOff x="4343836" y="6366536"/>
            <a:chExt cx="1096960" cy="31593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06D8605-98FB-AC71-2215-69501C0323BA}"/>
                </a:ext>
              </a:extLst>
            </p:cNvPr>
            <p:cNvGrpSpPr/>
            <p:nvPr userDrawn="1"/>
          </p:nvGrpSpPr>
          <p:grpSpPr>
            <a:xfrm>
              <a:off x="4343836" y="6366536"/>
              <a:ext cx="675862" cy="235834"/>
              <a:chOff x="-1312871" y="647298"/>
              <a:chExt cx="15115498" cy="5563402"/>
            </a:xfrm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2E6A2930-34B3-9F5D-1F43-254D9AAE3334}"/>
                  </a:ext>
                </a:extLst>
              </p:cNvPr>
              <p:cNvSpPr/>
              <p:nvPr/>
            </p:nvSpPr>
            <p:spPr>
              <a:xfrm>
                <a:off x="4421793" y="647298"/>
                <a:ext cx="3749967" cy="5563400"/>
              </a:xfrm>
              <a:custGeom>
                <a:avLst/>
                <a:gdLst>
                  <a:gd name="connsiteX0" fmla="*/ 539014 w 2080480"/>
                  <a:gd name="connsiteY0" fmla="*/ 729114 h 2916457"/>
                  <a:gd name="connsiteX1" fmla="*/ 539014 w 2080480"/>
                  <a:gd name="connsiteY1" fmla="*/ 2187342 h 2916457"/>
                  <a:gd name="connsiteX2" fmla="*/ 702731 w 2080480"/>
                  <a:gd name="connsiteY2" fmla="*/ 2172529 h 2916457"/>
                  <a:gd name="connsiteX3" fmla="*/ 1351366 w 2080480"/>
                  <a:gd name="connsiteY3" fmla="*/ 1458228 h 2916457"/>
                  <a:gd name="connsiteX4" fmla="*/ 702731 w 2080480"/>
                  <a:gd name="connsiteY4" fmla="*/ 743927 h 2916457"/>
                  <a:gd name="connsiteX5" fmla="*/ 0 w 2080480"/>
                  <a:gd name="connsiteY5" fmla="*/ 0 h 2916457"/>
                  <a:gd name="connsiteX6" fmla="*/ 539014 w 2080480"/>
                  <a:gd name="connsiteY6" fmla="*/ 0 h 2916457"/>
                  <a:gd name="connsiteX7" fmla="*/ 539014 w 2080480"/>
                  <a:gd name="connsiteY7" fmla="*/ 1 h 2916457"/>
                  <a:gd name="connsiteX8" fmla="*/ 696620 w 2080480"/>
                  <a:gd name="connsiteY8" fmla="*/ 7529 h 2916457"/>
                  <a:gd name="connsiteX9" fmla="*/ 2080480 w 2080480"/>
                  <a:gd name="connsiteY9" fmla="*/ 1458229 h 2916457"/>
                  <a:gd name="connsiteX10" fmla="*/ 539014 w 2080480"/>
                  <a:gd name="connsiteY10" fmla="*/ 2916457 h 2916457"/>
                  <a:gd name="connsiteX11" fmla="*/ 539014 w 2080480"/>
                  <a:gd name="connsiteY11" fmla="*/ 2916455 h 2916457"/>
                  <a:gd name="connsiteX12" fmla="*/ 0 w 2080480"/>
                  <a:gd name="connsiteY12" fmla="*/ 2916455 h 2916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80480" h="2916457">
                    <a:moveTo>
                      <a:pt x="539014" y="729114"/>
                    </a:moveTo>
                    <a:lnTo>
                      <a:pt x="539014" y="2187342"/>
                    </a:lnTo>
                    <a:lnTo>
                      <a:pt x="702731" y="2172529"/>
                    </a:lnTo>
                    <a:cubicBezTo>
                      <a:pt x="1072906" y="2104542"/>
                      <a:pt x="1351366" y="1810572"/>
                      <a:pt x="1351366" y="1458228"/>
                    </a:cubicBezTo>
                    <a:cubicBezTo>
                      <a:pt x="1351366" y="1105884"/>
                      <a:pt x="1072906" y="811914"/>
                      <a:pt x="702731" y="743927"/>
                    </a:cubicBezTo>
                    <a:close/>
                    <a:moveTo>
                      <a:pt x="0" y="0"/>
                    </a:moveTo>
                    <a:lnTo>
                      <a:pt x="539014" y="0"/>
                    </a:lnTo>
                    <a:lnTo>
                      <a:pt x="539014" y="1"/>
                    </a:lnTo>
                    <a:lnTo>
                      <a:pt x="696620" y="7529"/>
                    </a:lnTo>
                    <a:cubicBezTo>
                      <a:pt x="1473913" y="82205"/>
                      <a:pt x="2080480" y="703206"/>
                      <a:pt x="2080480" y="1458229"/>
                    </a:cubicBezTo>
                    <a:cubicBezTo>
                      <a:pt x="2080480" y="2263586"/>
                      <a:pt x="1390342" y="2916457"/>
                      <a:pt x="539014" y="2916457"/>
                    </a:cubicBezTo>
                    <a:lnTo>
                      <a:pt x="539014" y="2916455"/>
                    </a:lnTo>
                    <a:lnTo>
                      <a:pt x="0" y="2916455"/>
                    </a:lnTo>
                    <a:close/>
                  </a:path>
                </a:pathLst>
              </a:custGeom>
              <a:gradFill>
                <a:gsLst>
                  <a:gs pos="40000">
                    <a:srgbClr val="FAB41F"/>
                  </a:gs>
                  <a:gs pos="48000">
                    <a:srgbClr val="F79115"/>
                  </a:gs>
                </a:gsLst>
                <a:lin ang="5400000" scaled="1"/>
              </a:gradFill>
              <a:ln>
                <a:solidFill>
                  <a:srgbClr val="F68A1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23" name="Block Arc 22">
                <a:extLst>
                  <a:ext uri="{FF2B5EF4-FFF2-40B4-BE49-F238E27FC236}">
                    <a16:creationId xmlns:a16="http://schemas.microsoft.com/office/drawing/2014/main" id="{BD686FC9-98F8-4FBE-D2A8-CF66F6A9CCE8}"/>
                  </a:ext>
                </a:extLst>
              </p:cNvPr>
              <p:cNvSpPr/>
              <p:nvPr/>
            </p:nvSpPr>
            <p:spPr>
              <a:xfrm rot="16200000">
                <a:off x="8242509" y="650580"/>
                <a:ext cx="5563396" cy="5556840"/>
              </a:xfrm>
              <a:prstGeom prst="blockArc">
                <a:avLst>
                  <a:gd name="adj1" fmla="val 10800000"/>
                  <a:gd name="adj2" fmla="val 47466"/>
                  <a:gd name="adj3" fmla="val 23853"/>
                </a:avLst>
              </a:prstGeom>
              <a:gradFill flip="none" rotWithShape="1">
                <a:gsLst>
                  <a:gs pos="5000">
                    <a:srgbClr val="58BC66"/>
                  </a:gs>
                  <a:gs pos="94000">
                    <a:srgbClr val="0895A0"/>
                  </a:gs>
                </a:gsLst>
                <a:lin ang="540000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7E10BAD9-020D-035B-A062-41AE10022594}"/>
                  </a:ext>
                </a:extLst>
              </p:cNvPr>
              <p:cNvSpPr/>
              <p:nvPr/>
            </p:nvSpPr>
            <p:spPr>
              <a:xfrm>
                <a:off x="2762449" y="647298"/>
                <a:ext cx="1370578" cy="5563402"/>
              </a:xfrm>
              <a:prstGeom prst="roundRect">
                <a:avLst>
                  <a:gd name="adj" fmla="val 0"/>
                </a:avLst>
              </a:prstGeom>
              <a:gradFill flip="none" rotWithShape="1">
                <a:gsLst>
                  <a:gs pos="83000">
                    <a:schemeClr val="accent6">
                      <a:lumMod val="95000"/>
                      <a:lumOff val="5000"/>
                    </a:schemeClr>
                  </a:gs>
                  <a:gs pos="94000">
                    <a:srgbClr val="00954D"/>
                  </a:gs>
                </a:gsLst>
                <a:lin ang="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046BBF85-8E9A-F4F8-FA27-F59D0CE638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-1312871" y="733306"/>
                <a:ext cx="4038307" cy="5473164"/>
              </a:xfrm>
              <a:prstGeom prst="rect">
                <a:avLst/>
              </a:prstGeom>
            </p:spPr>
          </p:pic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783605C-41A4-1FE3-7797-48C8A9E5BB00}"/>
                </a:ext>
              </a:extLst>
            </p:cNvPr>
            <p:cNvSpPr txBox="1"/>
            <p:nvPr userDrawn="1"/>
          </p:nvSpPr>
          <p:spPr>
            <a:xfrm>
              <a:off x="4343836" y="6595906"/>
              <a:ext cx="1096960" cy="865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00" b="1" dirty="0" err="1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InfraDev</a:t>
              </a:r>
              <a:r>
                <a:rPr lang="en-US" sz="700" b="1" dirty="0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 Consulting Private Limited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752EBEC-F1F2-58E4-B34D-DC0752C160F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340203" y="53552"/>
            <a:ext cx="1600975" cy="9729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F29045E-AC65-EBDA-5946-4B60710520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24257" y="6030570"/>
            <a:ext cx="1143093" cy="69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4108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7E5FC1-2E2F-C419-F0C5-D6F8840D8B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7E5FC1-2E2F-C419-F0C5-D6F8840D8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FD4F69E2-5549-4AE3-8F2E-5D8CCB11BA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0813" y="1804846"/>
            <a:ext cx="5394959" cy="159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70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4556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681038" indent="-22383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9128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1144588" indent="-23018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16017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0589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25161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29733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Bid management including bid timelines, and coordination with bidders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Clarification coordination with bidders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Review of technical assumptions submitted by the bidder ensuring client’s interest being safeguarded 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Review with the client’s technical advisor regarding bid analysi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   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Libre Franklin"/>
              <a:cs typeface="Libre Franklin"/>
              <a:sym typeface="Libre Franklin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  <a:sym typeface="Libre Franklin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  <a:sym typeface="Libre Franklin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Libre Franklin" panose="00000500000000000000" pitchFamily="2" charset="0"/>
              <a:cs typeface="Libre Franklin" panose="00000500000000000000" pitchFamily="2" charset="0"/>
              <a:sym typeface="Libre Franklin" panose="00000500000000000000" pitchFamily="2" charset="0"/>
            </a:endParaRPr>
          </a:p>
        </p:txBody>
      </p:sp>
      <p:grpSp>
        <p:nvGrpSpPr>
          <p:cNvPr id="8" name="Group 28">
            <a:extLst>
              <a:ext uri="{FF2B5EF4-FFF2-40B4-BE49-F238E27FC236}">
                <a16:creationId xmlns:a16="http://schemas.microsoft.com/office/drawing/2014/main" id="{3942DEDF-9737-406F-8012-AF181D1CED1A}"/>
              </a:ext>
            </a:extLst>
          </p:cNvPr>
          <p:cNvGrpSpPr>
            <a:grpSpLocks/>
          </p:cNvGrpSpPr>
          <p:nvPr/>
        </p:nvGrpSpPr>
        <p:grpSpPr bwMode="auto">
          <a:xfrm>
            <a:off x="6754007" y="1485895"/>
            <a:ext cx="4808895" cy="302170"/>
            <a:chOff x="1490417" y="3912184"/>
            <a:chExt cx="4808338" cy="302540"/>
          </a:xfrm>
        </p:grpSpPr>
        <p:sp>
          <p:nvSpPr>
            <p:cNvPr id="9" name="Rectangle 87">
              <a:extLst>
                <a:ext uri="{FF2B5EF4-FFF2-40B4-BE49-F238E27FC236}">
                  <a16:creationId xmlns:a16="http://schemas.microsoft.com/office/drawing/2014/main" id="{42E299B7-0B73-45B8-961C-7F3E20BB7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640" y="3912184"/>
              <a:ext cx="1786885" cy="27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  <a:sym typeface="Libre Franklin Medium" panose="00000600000000000000" pitchFamily="2" charset="0"/>
                </a:rPr>
                <a:t>Project Bid Review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937CB1DE-A2A2-42B4-B19B-EAD253881CED}"/>
                </a:ext>
              </a:extLst>
            </p:cNvPr>
            <p:cNvCxnSpPr>
              <a:cxnSpLocks/>
            </p:cNvCxnSpPr>
            <p:nvPr/>
          </p:nvCxnSpPr>
          <p:spPr>
            <a:xfrm>
              <a:off x="1490417" y="4189352"/>
              <a:ext cx="4808338" cy="25372"/>
            </a:xfrm>
            <a:prstGeom prst="line">
              <a:avLst/>
            </a:prstGeom>
            <a:solidFill>
              <a:schemeClr val="accent3"/>
            </a:solidFill>
            <a:ln w="317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28">
            <a:extLst>
              <a:ext uri="{FF2B5EF4-FFF2-40B4-BE49-F238E27FC236}">
                <a16:creationId xmlns:a16="http://schemas.microsoft.com/office/drawing/2014/main" id="{B4ADDCB9-0034-A5EF-EB37-68986E9C42C8}"/>
              </a:ext>
            </a:extLst>
          </p:cNvPr>
          <p:cNvGrpSpPr>
            <a:grpSpLocks/>
          </p:cNvGrpSpPr>
          <p:nvPr/>
        </p:nvGrpSpPr>
        <p:grpSpPr bwMode="auto">
          <a:xfrm>
            <a:off x="1027112" y="1485900"/>
            <a:ext cx="4816475" cy="311739"/>
            <a:chOff x="1482837" y="3912150"/>
            <a:chExt cx="4815918" cy="312118"/>
          </a:xfrm>
        </p:grpSpPr>
        <p:sp>
          <p:nvSpPr>
            <p:cNvPr id="11" name="Rectangle 87">
              <a:extLst>
                <a:ext uri="{FF2B5EF4-FFF2-40B4-BE49-F238E27FC236}">
                  <a16:creationId xmlns:a16="http://schemas.microsoft.com/office/drawing/2014/main" id="{0112C600-0A8E-2462-45B3-E3383970C8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4903" y="3912150"/>
              <a:ext cx="4249967" cy="277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  <a:sym typeface="Libre Franklin Medium" panose="00000600000000000000" pitchFamily="2" charset="0"/>
                </a:rPr>
                <a:t>Regulatory &amp; Statutory Discussions Support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F00F6285-E3C9-5A62-5FE6-CCC4F7F93C9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82837" y="4214723"/>
              <a:ext cx="4815918" cy="9545"/>
            </a:xfrm>
            <a:prstGeom prst="line">
              <a:avLst/>
            </a:prstGeom>
            <a:solidFill>
              <a:schemeClr val="accent3"/>
            </a:solidFill>
            <a:ln w="317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90C8FDFF-F003-0C3F-4801-D3E944292F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1500" y="1838403"/>
            <a:ext cx="5241925" cy="2237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70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4556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681038" indent="-22383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9128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1144588" indent="-23018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16017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0589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25161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29733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Advise in identifying the support required (national grid, energy efficiency committee, planning committees, other statutory authorities, and approving bodies) for obtaining grants, consents, and permissions aligned with the project schedule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Assist in explaining requirements and seeking inputs from the respective government for support to the project (grid connections, ESIA approvals, ESG etc.)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Aid in discussions with the government and other entities for finalization and approvals of permits and licenses and other related documents to ensure bankability issues are addressed.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Libre Franklin"/>
              <a:cs typeface="Libre Franklin"/>
              <a:sym typeface="Libre Franklin"/>
            </a:endParaRPr>
          </a:p>
        </p:txBody>
      </p:sp>
      <p:pic>
        <p:nvPicPr>
          <p:cNvPr id="2052" name="Picture 4" descr="Configuration Logo Stock Illustrations – 4,201 Configuration Logo Stock  Illustrations, Vectors &amp; Clipart - Dreamstime">
            <a:extLst>
              <a:ext uri="{FF2B5EF4-FFF2-40B4-BE49-F238E27FC236}">
                <a16:creationId xmlns:a16="http://schemas.microsoft.com/office/drawing/2014/main" id="{C986AAAE-977C-55A6-EC9E-A9A2BA6E00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0" t="16740" r="16679" b="21481"/>
          <a:stretch/>
        </p:blipFill>
        <p:spPr bwMode="auto">
          <a:xfrm>
            <a:off x="6452746" y="1387012"/>
            <a:ext cx="399372" cy="40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37DF4B7C-5AAE-75C9-5278-97A39F92D0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77341" y="3269268"/>
            <a:ext cx="5230075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70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4556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681038" indent="-22383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9128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1144588" indent="-23018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16017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0589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25161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29733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Support client for entire transaction and execution management from concept freeze to O&amp;M Handover, requirement collation, project agreement review and negotiation.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Support in the procurement, communication, clarification, evaluation, negotiation, and reviewing of the entire EPC value chain (including OEM / LTSA, O&amp;M, as required) contract proposals, in coordination with the technical advisor.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Support the client in negotiating with major OEM, off-taker/developer and other stakeholders for the project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  <a:sym typeface="Libre Franklin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Libre Franklin" panose="00000500000000000000" pitchFamily="2" charset="0"/>
              <a:cs typeface="Libre Franklin" panose="00000500000000000000" pitchFamily="2" charset="0"/>
              <a:sym typeface="Libre Franklin" panose="00000500000000000000" pitchFamily="2" charset="0"/>
            </a:endParaRPr>
          </a:p>
        </p:txBody>
      </p:sp>
      <p:grpSp>
        <p:nvGrpSpPr>
          <p:cNvPr id="46" name="Group 28">
            <a:extLst>
              <a:ext uri="{FF2B5EF4-FFF2-40B4-BE49-F238E27FC236}">
                <a16:creationId xmlns:a16="http://schemas.microsoft.com/office/drawing/2014/main" id="{611DF4A4-A382-AE2B-AD17-908F5FD6BB96}"/>
              </a:ext>
            </a:extLst>
          </p:cNvPr>
          <p:cNvGrpSpPr>
            <a:grpSpLocks/>
          </p:cNvGrpSpPr>
          <p:nvPr/>
        </p:nvGrpSpPr>
        <p:grpSpPr bwMode="auto">
          <a:xfrm>
            <a:off x="6730159" y="2898398"/>
            <a:ext cx="4808894" cy="302207"/>
            <a:chOff x="1490417" y="3912150"/>
            <a:chExt cx="4808338" cy="302574"/>
          </a:xfrm>
        </p:grpSpPr>
        <p:sp>
          <p:nvSpPr>
            <p:cNvPr id="47" name="Rectangle 87">
              <a:extLst>
                <a:ext uri="{FF2B5EF4-FFF2-40B4-BE49-F238E27FC236}">
                  <a16:creationId xmlns:a16="http://schemas.microsoft.com/office/drawing/2014/main" id="{FBC6DC96-AF88-10D8-43EF-489C378AD8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640" y="3912150"/>
              <a:ext cx="3075614" cy="277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  <a:sym typeface="Libre Franklin Medium" panose="00000600000000000000" pitchFamily="2" charset="0"/>
                </a:rPr>
                <a:t>Project Agreements Negotiation</a:t>
              </a:r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5957333-1860-640D-28A9-7DE99A911E0E}"/>
                </a:ext>
              </a:extLst>
            </p:cNvPr>
            <p:cNvCxnSpPr>
              <a:cxnSpLocks/>
            </p:cNvCxnSpPr>
            <p:nvPr/>
          </p:nvCxnSpPr>
          <p:spPr>
            <a:xfrm>
              <a:off x="1490417" y="4189352"/>
              <a:ext cx="4808338" cy="25372"/>
            </a:xfrm>
            <a:prstGeom prst="line">
              <a:avLst/>
            </a:prstGeom>
            <a:solidFill>
              <a:schemeClr val="accent3"/>
            </a:solidFill>
            <a:ln w="317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Picture 8" descr="https://cdn-icons-png.flaticon.com/512/6715/6715888.png">
            <a:extLst>
              <a:ext uri="{FF2B5EF4-FFF2-40B4-BE49-F238E27FC236}">
                <a16:creationId xmlns:a16="http://schemas.microsoft.com/office/drawing/2014/main" id="{4BE93A4C-72C4-1F21-7FF1-FDFA0F4168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0458" y="2769574"/>
            <a:ext cx="450266" cy="450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8" descr="https://cdn-icons-png.flaticon.com/512/6715/6715888.png">
            <a:extLst>
              <a:ext uri="{FF2B5EF4-FFF2-40B4-BE49-F238E27FC236}">
                <a16:creationId xmlns:a16="http://schemas.microsoft.com/office/drawing/2014/main" id="{215BCF62-9796-0EE8-6292-99D1D87B18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826" y="1380335"/>
            <a:ext cx="450266" cy="450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2B9D58B6-E8A3-1BC8-0A63-50759465A0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1333" y="3917996"/>
            <a:ext cx="5394960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70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4556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681038" indent="-22383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9128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1144588" indent="-23018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16017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0589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25161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29733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Services focus primarily on assisting customers in achieving corporate excellence by helping them ensure that organizational requirements are met with high quality and the business is adapting and improving at a faster yet acceptable pace.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Implementation support for the establishment and review of Internal Process Controls and procedures across the entire value chain required for the effective acquisition of existing operational / under construction assets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Managing staff transfer and onsite support to gain M&amp;A transaction effectiveness  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Improving customer outcomes and increasing productivity by reengineering the organization’s key processes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Libre Franklin"/>
                <a:cs typeface="Libre Franklin"/>
                <a:sym typeface="Libre Franklin"/>
              </a:rPr>
              <a:t>Organization and team restructuring support including transformation roadmap development, identifying organizational change and financial expectations for short, medium and long ter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  <a:sym typeface="Libre Franklin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  <a:sym typeface="Libre Franklin"/>
            </a:endParaRP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Libre Franklin" panose="00000500000000000000" pitchFamily="2" charset="0"/>
              <a:cs typeface="Libre Franklin" panose="00000500000000000000" pitchFamily="2" charset="0"/>
              <a:sym typeface="Libre Franklin" panose="00000500000000000000" pitchFamily="2" charset="0"/>
            </a:endParaRPr>
          </a:p>
        </p:txBody>
      </p:sp>
      <p:grpSp>
        <p:nvGrpSpPr>
          <p:cNvPr id="22" name="Group 28">
            <a:extLst>
              <a:ext uri="{FF2B5EF4-FFF2-40B4-BE49-F238E27FC236}">
                <a16:creationId xmlns:a16="http://schemas.microsoft.com/office/drawing/2014/main" id="{F30824B9-CC5D-84C5-F609-FE6A8BFD2030}"/>
              </a:ext>
            </a:extLst>
          </p:cNvPr>
          <p:cNvGrpSpPr>
            <a:grpSpLocks/>
          </p:cNvGrpSpPr>
          <p:nvPr/>
        </p:nvGrpSpPr>
        <p:grpSpPr bwMode="auto">
          <a:xfrm>
            <a:off x="1132636" y="3534902"/>
            <a:ext cx="4808894" cy="276999"/>
            <a:chOff x="1490417" y="3912150"/>
            <a:chExt cx="4808338" cy="277335"/>
          </a:xfrm>
        </p:grpSpPr>
        <p:sp>
          <p:nvSpPr>
            <p:cNvPr id="23" name="Rectangle 87">
              <a:extLst>
                <a:ext uri="{FF2B5EF4-FFF2-40B4-BE49-F238E27FC236}">
                  <a16:creationId xmlns:a16="http://schemas.microsoft.com/office/drawing/2014/main" id="{CEEB0300-1472-26D9-26D0-2A2567250F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4903" y="3912150"/>
              <a:ext cx="4277856" cy="277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anose="020B05030201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  <a:sym typeface="Libre Franklin Medium" panose="00000600000000000000" pitchFamily="2" charset="0"/>
                </a:rPr>
                <a:t>Implementation &amp; Operational Development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B0BABB86-400A-A317-7BF7-4A42D6C30687}"/>
                </a:ext>
              </a:extLst>
            </p:cNvPr>
            <p:cNvCxnSpPr>
              <a:cxnSpLocks/>
            </p:cNvCxnSpPr>
            <p:nvPr/>
          </p:nvCxnSpPr>
          <p:spPr>
            <a:xfrm>
              <a:off x="1490417" y="4189352"/>
              <a:ext cx="4808338" cy="0"/>
            </a:xfrm>
            <a:prstGeom prst="line">
              <a:avLst/>
            </a:prstGeom>
            <a:solidFill>
              <a:schemeClr val="accent3"/>
            </a:solidFill>
            <a:ln w="317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Picture 12" descr="Planning Icon Vector Sign and Symbol Isolated on White Background, Planning  Logo Concept Stock Vector - Illustration of business, graphic: 134155408">
            <a:extLst>
              <a:ext uri="{FF2B5EF4-FFF2-40B4-BE49-F238E27FC236}">
                <a16:creationId xmlns:a16="http://schemas.microsoft.com/office/drawing/2014/main" id="{8BC2F001-E54B-6E74-67DE-09FE431FD7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62" t="18219" r="15321" b="24062"/>
          <a:stretch/>
        </p:blipFill>
        <p:spPr bwMode="auto">
          <a:xfrm>
            <a:off x="721669" y="3408283"/>
            <a:ext cx="508221" cy="448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125D7AD1-B07F-FC93-A47B-38D48B405C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2105" y="4972561"/>
            <a:ext cx="5357712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70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4556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681038" indent="-22383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912813" indent="-227013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1144588" indent="-230188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16017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0589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25161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2973388" indent="-2301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  <a:sym typeface="Libre Franklin"/>
              </a:rPr>
              <a:t>Act as your embedded mandate-holder:/ Empowered Proxy Directly steward initiatives as your empowered proxy (not an external observer). 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  <a:sym typeface="Libre Franklin"/>
              </a:rPr>
              <a:t>Orchestrate cross-functional teams and stakeholders to maintain alignment, velocity, and accountability.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Be clients Strategic Think Tank Powerhouse –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Enacta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 embedded arm for Complex Program Success .Convert ambiguous ambitions into executable strategy blueprints — not theoretical decks — with phased ownership, resources, &amp; antifragile governance.</a:t>
            </a:r>
          </a:p>
          <a:p>
            <a:pPr marL="227013" marR="0" lvl="0" indent="-227013" algn="just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2856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ranklin Gothic Book" panose="020B0503020102020204" pitchFamily="34" charset="0"/>
              <a:ea typeface="Libre Franklin" panose="00000500000000000000" pitchFamily="2" charset="0"/>
              <a:cs typeface="Libre Franklin" panose="00000500000000000000" pitchFamily="2" charset="0"/>
              <a:sym typeface="Libre Franklin" panose="00000500000000000000" pitchFamily="2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EBE7891-4F44-CD48-A40E-A29EA3A848B0}"/>
              </a:ext>
            </a:extLst>
          </p:cNvPr>
          <p:cNvGrpSpPr/>
          <p:nvPr/>
        </p:nvGrpSpPr>
        <p:grpSpPr>
          <a:xfrm>
            <a:off x="6270458" y="4524505"/>
            <a:ext cx="5217795" cy="448056"/>
            <a:chOff x="6270458" y="4524505"/>
            <a:chExt cx="5217795" cy="448056"/>
          </a:xfrm>
        </p:grpSpPr>
        <p:grpSp>
          <p:nvGrpSpPr>
            <p:cNvPr id="32" name="Group 28">
              <a:extLst>
                <a:ext uri="{FF2B5EF4-FFF2-40B4-BE49-F238E27FC236}">
                  <a16:creationId xmlns:a16="http://schemas.microsoft.com/office/drawing/2014/main" id="{ED150667-9C98-6F3A-3151-FE6B6767412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79359" y="4601691"/>
              <a:ext cx="4808894" cy="302207"/>
              <a:chOff x="1287238" y="3912150"/>
              <a:chExt cx="4808338" cy="302574"/>
            </a:xfrm>
          </p:grpSpPr>
          <p:sp>
            <p:nvSpPr>
              <p:cNvPr id="33" name="Rectangle 87">
                <a:extLst>
                  <a:ext uri="{FF2B5EF4-FFF2-40B4-BE49-F238E27FC236}">
                    <a16:creationId xmlns:a16="http://schemas.microsoft.com/office/drawing/2014/main" id="{0EFE6093-7428-1A19-4434-921AAD1BBE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2476" y="3912150"/>
                <a:ext cx="4437369" cy="2773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Franklin Gothic Book" panose="020B05030201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Franklin Gothic Book" panose="020B05030201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Franklin Gothic Book" panose="020B05030201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Franklin Gothic Book" panose="020B05030201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Franklin Gothic Book" panose="020B05030201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Book" panose="020B05030201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Book" panose="020B05030201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Book" panose="020B05030201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Book" panose="020B0503020102020204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+mn-cs"/>
                    <a:sym typeface="Libre Franklin Medium" panose="00000600000000000000" pitchFamily="2" charset="0"/>
                  </a:rPr>
                  <a:t>Tailored Services Serving </a:t>
                </a: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+mn-cs"/>
                  </a:rPr>
                  <a:t>Strategic Ambitions </a:t>
                </a:r>
                <a:endParaRPr kumimoji="0" lang="en-US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n-ea"/>
                  <a:cs typeface="+mn-cs"/>
                  <a:sym typeface="Libre Franklin Medium" panose="00000600000000000000" pitchFamily="2" charset="0"/>
                </a:endParaRPr>
              </a:p>
            </p:txBody>
          </p: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5037A253-C004-8189-D87B-26DEBF7DB7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87238" y="4189352"/>
                <a:ext cx="4808338" cy="25372"/>
              </a:xfrm>
              <a:prstGeom prst="line">
                <a:avLst/>
              </a:prstGeom>
              <a:solidFill>
                <a:schemeClr val="accent3"/>
              </a:solidFill>
              <a:ln w="317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026" name="Picture 2" descr="3+ Thousand Strategic Planning Logo Royalty-Free Images, Stock Photos &amp;  Pictures | Shutterstock">
              <a:extLst>
                <a:ext uri="{FF2B5EF4-FFF2-40B4-BE49-F238E27FC236}">
                  <a16:creationId xmlns:a16="http://schemas.microsoft.com/office/drawing/2014/main" id="{9C000A77-3776-0A35-2F49-0851612E55F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121" t="27055" r="34616" b="43280"/>
            <a:stretch/>
          </p:blipFill>
          <p:spPr bwMode="auto">
            <a:xfrm>
              <a:off x="6270458" y="4524505"/>
              <a:ext cx="438466" cy="4480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A5DC55E0-4907-450C-1B36-C92FF50958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724" y="757360"/>
            <a:ext cx="8930419" cy="468821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rgbClr val="80C22E"/>
                </a:solidFill>
                <a:latin typeface="+mj-lt"/>
              </a:rPr>
              <a:t>Key Service Offerings for Infrastructure Development Mandates 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C41116B-62D2-2C35-A49A-05FFA22F5A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0826" y="389453"/>
            <a:ext cx="8287882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lang="en-GB" sz="2400" b="1" kern="1200">
                <a:solidFill>
                  <a:schemeClr val="accent1"/>
                </a:solidFill>
                <a:latin typeface="Franklin Gothic Book" panose="020B0503020102020204" pitchFamily="34" charset="0"/>
                <a:ea typeface="+mj-ea"/>
                <a:cs typeface="+mj-cs"/>
              </a:defRPr>
            </a:lvl1pPr>
            <a:lvl2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2pPr>
            <a:lvl3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3pPr>
            <a:lvl4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4pPr>
            <a:lvl5pPr algn="l" defTabSz="9128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5pPr>
            <a:lvl6pPr marL="4572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6pPr>
            <a:lvl7pPr marL="9144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7pPr>
            <a:lvl8pPr marL="13716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8pPr>
            <a:lvl9pPr marL="18288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 sz="2400" b="1">
                <a:solidFill>
                  <a:schemeClr val="accent1"/>
                </a:solidFill>
                <a:latin typeface="Franklin Gothic Book" panose="020B050302010202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6BA6"/>
                </a:solidFill>
                <a:effectLst/>
                <a:uLnTx/>
                <a:uFillTx/>
                <a:latin typeface="Franklin Gothic Medium" panose="020B0603020102020204"/>
                <a:ea typeface="+mj-ea"/>
                <a:cs typeface="+mj-cs"/>
                <a:sym typeface="Libre Franklin"/>
              </a:rPr>
              <a:t>CAPABILITY STATEMEN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36E99D2-F61C-CC10-24D6-9B7F9FCE770D}"/>
              </a:ext>
            </a:extLst>
          </p:cNvPr>
          <p:cNvGrpSpPr/>
          <p:nvPr/>
        </p:nvGrpSpPr>
        <p:grpSpPr>
          <a:xfrm>
            <a:off x="10818688" y="629083"/>
            <a:ext cx="1277503" cy="393167"/>
            <a:chOff x="4343836" y="6366536"/>
            <a:chExt cx="1096960" cy="31593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F8C5B26-8E0B-16B1-6A45-7D50A42DCC27}"/>
                </a:ext>
              </a:extLst>
            </p:cNvPr>
            <p:cNvGrpSpPr/>
            <p:nvPr userDrawn="1"/>
          </p:nvGrpSpPr>
          <p:grpSpPr>
            <a:xfrm>
              <a:off x="4343836" y="6366536"/>
              <a:ext cx="675862" cy="235834"/>
              <a:chOff x="-1312871" y="647298"/>
              <a:chExt cx="15115498" cy="5563402"/>
            </a:xfrm>
          </p:grpSpPr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87041A9C-5FB3-348B-813B-2707B9E7EF03}"/>
                  </a:ext>
                </a:extLst>
              </p:cNvPr>
              <p:cNvSpPr/>
              <p:nvPr/>
            </p:nvSpPr>
            <p:spPr>
              <a:xfrm>
                <a:off x="4421793" y="647298"/>
                <a:ext cx="3749967" cy="5563400"/>
              </a:xfrm>
              <a:custGeom>
                <a:avLst/>
                <a:gdLst>
                  <a:gd name="connsiteX0" fmla="*/ 539014 w 2080480"/>
                  <a:gd name="connsiteY0" fmla="*/ 729114 h 2916457"/>
                  <a:gd name="connsiteX1" fmla="*/ 539014 w 2080480"/>
                  <a:gd name="connsiteY1" fmla="*/ 2187342 h 2916457"/>
                  <a:gd name="connsiteX2" fmla="*/ 702731 w 2080480"/>
                  <a:gd name="connsiteY2" fmla="*/ 2172529 h 2916457"/>
                  <a:gd name="connsiteX3" fmla="*/ 1351366 w 2080480"/>
                  <a:gd name="connsiteY3" fmla="*/ 1458228 h 2916457"/>
                  <a:gd name="connsiteX4" fmla="*/ 702731 w 2080480"/>
                  <a:gd name="connsiteY4" fmla="*/ 743927 h 2916457"/>
                  <a:gd name="connsiteX5" fmla="*/ 0 w 2080480"/>
                  <a:gd name="connsiteY5" fmla="*/ 0 h 2916457"/>
                  <a:gd name="connsiteX6" fmla="*/ 539014 w 2080480"/>
                  <a:gd name="connsiteY6" fmla="*/ 0 h 2916457"/>
                  <a:gd name="connsiteX7" fmla="*/ 539014 w 2080480"/>
                  <a:gd name="connsiteY7" fmla="*/ 1 h 2916457"/>
                  <a:gd name="connsiteX8" fmla="*/ 696620 w 2080480"/>
                  <a:gd name="connsiteY8" fmla="*/ 7529 h 2916457"/>
                  <a:gd name="connsiteX9" fmla="*/ 2080480 w 2080480"/>
                  <a:gd name="connsiteY9" fmla="*/ 1458229 h 2916457"/>
                  <a:gd name="connsiteX10" fmla="*/ 539014 w 2080480"/>
                  <a:gd name="connsiteY10" fmla="*/ 2916457 h 2916457"/>
                  <a:gd name="connsiteX11" fmla="*/ 539014 w 2080480"/>
                  <a:gd name="connsiteY11" fmla="*/ 2916455 h 2916457"/>
                  <a:gd name="connsiteX12" fmla="*/ 0 w 2080480"/>
                  <a:gd name="connsiteY12" fmla="*/ 2916455 h 2916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80480" h="2916457">
                    <a:moveTo>
                      <a:pt x="539014" y="729114"/>
                    </a:moveTo>
                    <a:lnTo>
                      <a:pt x="539014" y="2187342"/>
                    </a:lnTo>
                    <a:lnTo>
                      <a:pt x="702731" y="2172529"/>
                    </a:lnTo>
                    <a:cubicBezTo>
                      <a:pt x="1072906" y="2104542"/>
                      <a:pt x="1351366" y="1810572"/>
                      <a:pt x="1351366" y="1458228"/>
                    </a:cubicBezTo>
                    <a:cubicBezTo>
                      <a:pt x="1351366" y="1105884"/>
                      <a:pt x="1072906" y="811914"/>
                      <a:pt x="702731" y="743927"/>
                    </a:cubicBezTo>
                    <a:close/>
                    <a:moveTo>
                      <a:pt x="0" y="0"/>
                    </a:moveTo>
                    <a:lnTo>
                      <a:pt x="539014" y="0"/>
                    </a:lnTo>
                    <a:lnTo>
                      <a:pt x="539014" y="1"/>
                    </a:lnTo>
                    <a:lnTo>
                      <a:pt x="696620" y="7529"/>
                    </a:lnTo>
                    <a:cubicBezTo>
                      <a:pt x="1473913" y="82205"/>
                      <a:pt x="2080480" y="703206"/>
                      <a:pt x="2080480" y="1458229"/>
                    </a:cubicBezTo>
                    <a:cubicBezTo>
                      <a:pt x="2080480" y="2263586"/>
                      <a:pt x="1390342" y="2916457"/>
                      <a:pt x="539014" y="2916457"/>
                    </a:cubicBezTo>
                    <a:lnTo>
                      <a:pt x="539014" y="2916455"/>
                    </a:lnTo>
                    <a:lnTo>
                      <a:pt x="0" y="2916455"/>
                    </a:lnTo>
                    <a:close/>
                  </a:path>
                </a:pathLst>
              </a:custGeom>
              <a:gradFill>
                <a:gsLst>
                  <a:gs pos="40000">
                    <a:srgbClr val="FAB41F"/>
                  </a:gs>
                  <a:gs pos="48000">
                    <a:srgbClr val="F79115"/>
                  </a:gs>
                </a:gsLst>
                <a:lin ang="5400000" scaled="1"/>
              </a:gradFill>
              <a:ln>
                <a:solidFill>
                  <a:srgbClr val="F68A1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26" name="Block Arc 25">
                <a:extLst>
                  <a:ext uri="{FF2B5EF4-FFF2-40B4-BE49-F238E27FC236}">
                    <a16:creationId xmlns:a16="http://schemas.microsoft.com/office/drawing/2014/main" id="{7CCA9460-ED0E-0864-D9E7-BCC4B42F6020}"/>
                  </a:ext>
                </a:extLst>
              </p:cNvPr>
              <p:cNvSpPr/>
              <p:nvPr/>
            </p:nvSpPr>
            <p:spPr>
              <a:xfrm rot="16200000">
                <a:off x="8242509" y="650580"/>
                <a:ext cx="5563396" cy="5556840"/>
              </a:xfrm>
              <a:prstGeom prst="blockArc">
                <a:avLst>
                  <a:gd name="adj1" fmla="val 10800000"/>
                  <a:gd name="adj2" fmla="val 47466"/>
                  <a:gd name="adj3" fmla="val 23853"/>
                </a:avLst>
              </a:prstGeom>
              <a:gradFill flip="none" rotWithShape="1">
                <a:gsLst>
                  <a:gs pos="5000">
                    <a:srgbClr val="58BC66"/>
                  </a:gs>
                  <a:gs pos="94000">
                    <a:srgbClr val="0895A0"/>
                  </a:gs>
                </a:gsLst>
                <a:lin ang="540000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7" name="Rectangle: Rounded Corners 26">
                <a:extLst>
                  <a:ext uri="{FF2B5EF4-FFF2-40B4-BE49-F238E27FC236}">
                    <a16:creationId xmlns:a16="http://schemas.microsoft.com/office/drawing/2014/main" id="{8FB9ABBF-21AC-3A7A-0B65-5D3A97344610}"/>
                  </a:ext>
                </a:extLst>
              </p:cNvPr>
              <p:cNvSpPr/>
              <p:nvPr/>
            </p:nvSpPr>
            <p:spPr>
              <a:xfrm>
                <a:off x="2762449" y="647298"/>
                <a:ext cx="1370578" cy="5563402"/>
              </a:xfrm>
              <a:prstGeom prst="roundRect">
                <a:avLst>
                  <a:gd name="adj" fmla="val 0"/>
                </a:avLst>
              </a:prstGeom>
              <a:gradFill flip="none" rotWithShape="1">
                <a:gsLst>
                  <a:gs pos="83000">
                    <a:schemeClr val="accent6">
                      <a:lumMod val="95000"/>
                      <a:lumOff val="5000"/>
                    </a:schemeClr>
                  </a:gs>
                  <a:gs pos="94000">
                    <a:srgbClr val="00954D"/>
                  </a:gs>
                </a:gsLst>
                <a:lin ang="0" scaled="1"/>
                <a:tileRect/>
              </a:gradFill>
              <a:ln>
                <a:solidFill>
                  <a:srgbClr val="00954D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C5688972-086C-FB1D-F4BA-39A4CF5084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-1312871" y="733306"/>
                <a:ext cx="4038307" cy="5473164"/>
              </a:xfrm>
              <a:prstGeom prst="rect">
                <a:avLst/>
              </a:prstGeom>
            </p:spPr>
          </p:pic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405EC26-9AC1-814E-4DCD-06E6D9D401D7}"/>
                </a:ext>
              </a:extLst>
            </p:cNvPr>
            <p:cNvSpPr txBox="1"/>
            <p:nvPr userDrawn="1"/>
          </p:nvSpPr>
          <p:spPr>
            <a:xfrm>
              <a:off x="4343836" y="6595906"/>
              <a:ext cx="1096960" cy="865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00" b="1" dirty="0" err="1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InfraDev</a:t>
              </a:r>
              <a:r>
                <a:rPr lang="en-US" sz="700" b="1" dirty="0">
                  <a:solidFill>
                    <a:schemeClr val="bg1">
                      <a:lumMod val="50000"/>
                    </a:schemeClr>
                  </a:solidFill>
                  <a:latin typeface="Aparajita" panose="02020603050405020304" pitchFamily="18" charset="0"/>
                  <a:cs typeface="Aparajita" panose="02020603050405020304" pitchFamily="18" charset="0"/>
                </a:rPr>
                <a:t> Consulting Private Limited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5E0D2030-F96D-51F1-8CF0-7F8FE8F1D72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340203" y="53552"/>
            <a:ext cx="1600975" cy="9729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BF6DDF0-B85A-7531-D628-A4C3C42467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24257" y="6030570"/>
            <a:ext cx="1143093" cy="69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0774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rMOtCLuMrM1HTXNfb9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QF7Aj6jqgXpagjQB2Q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rMOtCLuMrM1HTXNfb9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QF7Aj6jqgXpagjQB2Q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rMOtCLuMrM1HTXNfb9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K7bFfPW8mqEnBueK9A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rMOtCLuMrM1HTXNfb9M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rMOtCLuMrM1HTXNfb9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QF7Aj6jqgXpagjQB2Q9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rMOtCLuMrM1HTXNfb9M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QF7Aj6jqgXpagjQB2Q9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rMOtCLuMrM1HTXNfb9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QF7Aj6jqgXpagjQB2Q9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tfjlOuJ2EEQ7oh0BKd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rMOtCLuMrM1HTXNfb9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QF7Aj6jqgXpagjQB2Q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bkgrnd master">
  <a:themeElements>
    <a:clrScheme name="Custom 15">
      <a:dk1>
        <a:srgbClr val="000000"/>
      </a:dk1>
      <a:lt1>
        <a:srgbClr val="FFFFFF"/>
      </a:lt1>
      <a:dk2>
        <a:srgbClr val="002856"/>
      </a:dk2>
      <a:lt2>
        <a:srgbClr val="FFFFFF"/>
      </a:lt2>
      <a:accent1>
        <a:srgbClr val="006BA6"/>
      </a:accent1>
      <a:accent2>
        <a:srgbClr val="78BE20"/>
      </a:accent2>
      <a:accent3>
        <a:srgbClr val="E89A28"/>
      </a:accent3>
      <a:accent4>
        <a:srgbClr val="E84C3C"/>
      </a:accent4>
      <a:accent5>
        <a:srgbClr val="731630"/>
      </a:accent5>
      <a:accent6>
        <a:srgbClr val="2DB24B"/>
      </a:accent6>
      <a:hlink>
        <a:srgbClr val="0052D7"/>
      </a:hlink>
      <a:folHlink>
        <a:srgbClr val="0045B5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4F4F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GBlue">
      <a:srgbClr val="002856"/>
    </a:custClr>
    <a:custClr name="Sky">
      <a:srgbClr val="009AD7"/>
    </a:custClr>
    <a:custClr name="Surf">
      <a:srgbClr val="06C4B0"/>
    </a:custClr>
    <a:custClr name="Tangerine">
      <a:srgbClr val="FF540A"/>
    </a:custClr>
    <a:custClr name="Lemon">
      <a:srgbClr val="FEC10D"/>
    </a:custClr>
    <a:custClr name="Rose">
      <a:srgbClr val="E81159"/>
    </a:custClr>
    <a:custClr name="White">
      <a:srgbClr val="FFFFFF"/>
    </a:custClr>
    <a:custClr name="Steel">
      <a:srgbClr val="6F7878"/>
    </a:custClr>
    <a:custClr name="Black">
      <a:srgbClr val="000000"/>
    </a:custClr>
    <a:custClr name="Error Red">
      <a:srgbClr val="DE0A01"/>
    </a:custClr>
    <a:custClr name="GBlue Tint1">
      <a:srgbClr val="6A80A3"/>
    </a:custClr>
    <a:custClr name="Sky Tint1">
      <a:srgbClr val="49C5F4"/>
    </a:custClr>
    <a:custClr name="Surf Tint1">
      <a:srgbClr val="4EDCCA"/>
    </a:custClr>
    <a:custClr name="Tangerine Tint1">
      <a:srgbClr val="FF986C"/>
    </a:custClr>
    <a:custClr name="Lemon Tint1">
      <a:srgbClr val="FEDA6E"/>
    </a:custClr>
    <a:custClr name="Rose Tint1">
      <a:srgbClr val="F4729D"/>
    </a:custClr>
    <a:custClr name="White">
      <a:srgbClr val="FFFFFF"/>
    </a:custClr>
    <a:custClr name="Steel Tint1">
      <a:srgbClr val="979D9D"/>
    </a:custClr>
    <a:custClr name="White">
      <a:srgbClr val="FFFFFF"/>
    </a:custClr>
    <a:custClr name="Warning Yellow">
      <a:srgbClr val="F5AB23"/>
    </a:custClr>
    <a:custClr name="GBlue Tint2">
      <a:srgbClr val="A1B3CA"/>
    </a:custClr>
    <a:custClr name="Sky Tint2">
      <a:srgbClr val="91DCF8"/>
    </a:custClr>
    <a:custClr name="Surf Tint2">
      <a:srgbClr val="95EADF"/>
    </a:custClr>
    <a:custClr name="Tangerine Tint2">
      <a:srgbClr val="FBC9A6"/>
    </a:custClr>
    <a:custClr name="Lemon Tint2">
      <a:srgbClr val="FFEDB3"/>
    </a:custClr>
    <a:custClr name="Rose Tint2">
      <a:srgbClr val="F9C1D2"/>
    </a:custClr>
    <a:custClr name="White">
      <a:srgbClr val="FFFFFF"/>
    </a:custClr>
    <a:custClr name="Steel Tint2">
      <a:srgbClr val="BDBDBD"/>
    </a:custClr>
    <a:custClr name="White">
      <a:srgbClr val="FFFFFF"/>
    </a:custClr>
    <a:custClr name="Success Green">
      <a:srgbClr val="00A76D"/>
    </a:custClr>
    <a:custClr name="GBlue Tint3">
      <a:srgbClr val="D0DEEA"/>
    </a:custClr>
    <a:custClr name="Sky Dark1">
      <a:srgbClr val="0073A1"/>
    </a:custClr>
    <a:custClr name="Surf Dark1">
      <a:srgbClr val="048D7F"/>
    </a:custClr>
    <a:custClr name="Tangerine Dark1">
      <a:srgbClr val="BF3F07"/>
    </a:custClr>
    <a:custClr name="Lemon Dark1">
      <a:srgbClr val="BE910A"/>
    </a:custClr>
    <a:custClr name="Rose Dark1">
      <a:srgbClr val="AE0D43"/>
    </a:custClr>
    <a:custClr name="White">
      <a:srgbClr val="FFFFFF"/>
    </a:custClr>
    <a:custClr name="Steel Tint3">
      <a:srgbClr val="D3D3D3"/>
    </a:custClr>
    <a:custClr name="White">
      <a:srgbClr val="FFFFFF"/>
    </a:custClr>
    <a:custClr name="Background Gray">
      <a:srgbClr val="F4F4F4"/>
    </a:custClr>
    <a:custClr name="GBlue Dark1">
      <a:srgbClr val="355578"/>
    </a:custClr>
    <a:custClr name="Sky Dark2">
      <a:srgbClr val="004D6B"/>
    </a:custClr>
    <a:custClr name="Surf Dark2">
      <a:srgbClr val="036258"/>
    </a:custClr>
    <a:custClr name="Tangerine Dark2">
      <a:srgbClr val="7F2A05"/>
    </a:custClr>
    <a:custClr name="Lemon Dark2">
      <a:srgbClr val="7F6006"/>
    </a:custClr>
    <a:custClr name="Rose Dark2">
      <a:srgbClr val="74082C"/>
    </a:custClr>
    <a:custClr name="White">
      <a:srgbClr val="FFFFFF"/>
    </a:custClr>
    <a:custClr name="Steel Dark">
      <a:srgbClr val="535A5A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blank" id="{70BD6279-8C82-43EF-8801-0EAF0DFC9CA1}" vid="{D217DE52-0D9F-4C23-B4E8-7E42B64E93D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1220</Words>
  <Application>Microsoft Office PowerPoint</Application>
  <PresentationFormat>Widescreen</PresentationFormat>
  <Paragraphs>112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4" baseType="lpstr">
      <vt:lpstr>Aparajita</vt:lpstr>
      <vt:lpstr>Aptos</vt:lpstr>
      <vt:lpstr>Arial</vt:lpstr>
      <vt:lpstr>Calibri</vt:lpstr>
      <vt:lpstr>Franklin Gothic Book</vt:lpstr>
      <vt:lpstr>Franklin Gothic Medium</vt:lpstr>
      <vt:lpstr>Libre Franklin</vt:lpstr>
      <vt:lpstr>Libre Franklin Medium</vt:lpstr>
      <vt:lpstr>Wingdings</vt:lpstr>
      <vt:lpstr>White bkgrnd master</vt:lpstr>
      <vt:lpstr>think-cell Slide</vt:lpstr>
      <vt:lpstr>PowerPoint Presentation</vt:lpstr>
      <vt:lpstr>Key Service Offerings for Infrastructure Development Mandates </vt:lpstr>
      <vt:lpstr>Key Service Offerings for Infrastructure Development Mandate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eam Development Advisory_Synergy</dc:creator>
  <cp:lastModifiedBy>Team Development Advisory_Synergy</cp:lastModifiedBy>
  <cp:revision>1</cp:revision>
  <dcterms:created xsi:type="dcterms:W3CDTF">2025-11-08T05:40:06Z</dcterms:created>
  <dcterms:modified xsi:type="dcterms:W3CDTF">2025-12-16T17:27:52Z</dcterms:modified>
</cp:coreProperties>
</file>